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Override2.xml" ContentType="application/vnd.openxmlformats-officedocument.themeOverrid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  <p:sldMasterId id="2147483657" r:id="rId2"/>
    <p:sldMasterId id="2147483655" r:id="rId3"/>
    <p:sldMasterId id="2147483659" r:id="rId4"/>
    <p:sldMasterId id="2147483701" r:id="rId5"/>
    <p:sldMasterId id="2147483763" r:id="rId6"/>
  </p:sldMasterIdLst>
  <p:notesMasterIdLst>
    <p:notesMasterId r:id="rId11"/>
  </p:notesMasterIdLst>
  <p:handoutMasterIdLst>
    <p:handoutMasterId r:id="rId12"/>
  </p:handoutMasterIdLst>
  <p:sldIdLst>
    <p:sldId id="339" r:id="rId7"/>
    <p:sldId id="344" r:id="rId8"/>
    <p:sldId id="340" r:id="rId9"/>
    <p:sldId id="342" r:id="rId10"/>
  </p:sldIdLst>
  <p:sldSz cx="9144000" cy="6858000" type="screen4x3"/>
  <p:notesSz cx="6805613" cy="9939338"/>
  <p:defaultTextStyle>
    <a:defPPr>
      <a:defRPr lang="en-A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siree Bartolome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DBA"/>
    <a:srgbClr val="589199"/>
    <a:srgbClr val="B9C9D0"/>
    <a:srgbClr val="004165"/>
    <a:srgbClr val="C6DFEA"/>
    <a:srgbClr val="5BC6E8"/>
    <a:srgbClr val="0057A6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24" autoAdjust="0"/>
    <p:restoredTop sz="96069" autoAdjust="0"/>
  </p:normalViewPr>
  <p:slideViewPr>
    <p:cSldViewPr snapToObjects="1">
      <p:cViewPr>
        <p:scale>
          <a:sx n="110" d="100"/>
          <a:sy n="110" d="100"/>
        </p:scale>
        <p:origin x="-144" y="654"/>
      </p:cViewPr>
      <p:guideLst>
        <p:guide orient="horz" pos="3430"/>
        <p:guide pos="442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>
        <p:scale>
          <a:sx n="150" d="100"/>
          <a:sy n="150" d="100"/>
        </p:scale>
        <p:origin x="-2412" y="3252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256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256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41ABB43-40F4-4424-B696-5D8B8D5AA1E2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936888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1105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65700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noProof="0" smtClean="0"/>
              <a:t>Click to edit Master text styles</a:t>
            </a:r>
          </a:p>
          <a:p>
            <a:pPr lvl="1"/>
            <a:r>
              <a:rPr lang="en-AU" noProof="0" smtClean="0"/>
              <a:t>Second level</a:t>
            </a:r>
          </a:p>
          <a:p>
            <a:pPr lvl="2"/>
            <a:r>
              <a:rPr lang="en-AU" noProof="0" smtClean="0"/>
              <a:t>Third level</a:t>
            </a:r>
          </a:p>
          <a:p>
            <a:pPr lvl="3"/>
            <a:r>
              <a:rPr lang="en-AU" noProof="0" smtClean="0"/>
              <a:t>Fourth level</a:t>
            </a:r>
          </a:p>
          <a:p>
            <a:pPr lvl="4"/>
            <a:r>
              <a:rPr lang="en-AU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6AA34B1-704B-4B1D-915A-24235E9DDC39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3893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60C1B5A-91B2-4F66-AE07-2CF3EA7A0727}" type="slidenum">
              <a:rPr lang="en-AU"/>
              <a:pPr/>
              <a:t>1</a:t>
            </a:fld>
            <a:endParaRPr lang="en-AU"/>
          </a:p>
        </p:txBody>
      </p:sp>
      <p:sp>
        <p:nvSpPr>
          <p:cNvPr id="771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2338" y="746125"/>
            <a:ext cx="4965700" cy="3725863"/>
          </a:xfrm>
          <a:ln/>
        </p:spPr>
      </p:sp>
      <p:sp>
        <p:nvSpPr>
          <p:cNvPr id="7710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28600" indent="-228600"/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AA34B1-704B-4B1D-915A-24235E9DDC39}" type="slidenum">
              <a:rPr lang="en-AU" smtClean="0"/>
              <a:pPr>
                <a:defRPr/>
              </a:pPr>
              <a:t>2</a:t>
            </a:fld>
            <a:endParaRPr lang="en-A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731838"/>
            <a:ext cx="4965700" cy="37258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</a:pPr>
            <a:endParaRPr lang="en-AU" sz="600" dirty="0"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569B6-A838-4EDC-9B96-52292BC1B645}" type="slidenum">
              <a:rPr lang="en-AU" smtClean="0"/>
              <a:pPr/>
              <a:t>3</a:t>
            </a:fld>
            <a:endParaRPr lang="en-A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8050" y="750888"/>
            <a:ext cx="4965700" cy="37258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600" dirty="0" smtClean="0">
              <a:latin typeface="Verdana" pitchFamily="34" charset="0"/>
            </a:endParaRPr>
          </a:p>
          <a:p>
            <a:pPr marL="87313" indent="-87313">
              <a:buFont typeface="Arial" pitchFamily="34" charset="0"/>
              <a:buChar char="•"/>
            </a:pPr>
            <a:endParaRPr lang="en-AU" sz="600" dirty="0"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C569B6-A838-4EDC-9B96-52292BC1B645}" type="slidenum">
              <a:rPr lang="en-AU" smtClean="0"/>
              <a:pPr/>
              <a:t>4</a:t>
            </a:fld>
            <a:endParaRPr lang="en-A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ANZP0060_Presentation_PerspectiveShap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5" descr="ANZP0060_Reports_Logo"/>
          <p:cNvPicPr>
            <a:picLocks noChangeAspect="1" noChangeArrowheads="1"/>
          </p:cNvPicPr>
          <p:nvPr/>
        </p:nvPicPr>
        <p:blipFill>
          <a:blip r:embed="rId3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890963" y="1690688"/>
            <a:ext cx="4708525" cy="1235075"/>
          </a:xfrm>
        </p:spPr>
        <p:txBody>
          <a:bodyPr/>
          <a:lstStyle>
            <a:lvl1pPr algn="r">
              <a:defRPr sz="35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889375" y="3273425"/>
            <a:ext cx="4708525" cy="550863"/>
          </a:xfrm>
        </p:spPr>
        <p:txBody>
          <a:bodyPr/>
          <a:lstStyle>
            <a:lvl1pPr marL="0" indent="0" algn="r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AU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quarter" idx="10"/>
          </p:nvPr>
        </p:nvSpPr>
        <p:spPr>
          <a:xfrm>
            <a:off x="6465888" y="3922713"/>
            <a:ext cx="2133600" cy="476250"/>
          </a:xfrm>
        </p:spPr>
        <p:txBody>
          <a:bodyPr anchor="t"/>
          <a:lstStyle>
            <a:lvl1pPr algn="r">
              <a:defRPr sz="18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C008D6-34AB-4BB0-BC2A-8DD57A81D496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4475" y="574675"/>
            <a:ext cx="2005013" cy="45100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4675" y="574675"/>
            <a:ext cx="5867400" cy="45100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7F174C-7733-4967-9E7D-0A7F41281BDA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NZP0060_Presentation_PerspectiveShap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ANZP0060_Reports_Logo"/>
          <p:cNvPicPr>
            <a:picLocks noChangeAspect="1" noChangeArrowheads="1"/>
          </p:cNvPicPr>
          <p:nvPr/>
        </p:nvPicPr>
        <p:blipFill>
          <a:blip r:embed="rId3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92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69963" y="1989138"/>
            <a:ext cx="7627937" cy="730250"/>
          </a:xfrm>
        </p:spPr>
        <p:txBody>
          <a:bodyPr/>
          <a:lstStyle>
            <a:lvl1pPr algn="r">
              <a:defRPr sz="35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64922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889375" y="3273425"/>
            <a:ext cx="4708525" cy="550863"/>
          </a:xfrm>
        </p:spPr>
        <p:txBody>
          <a:bodyPr/>
          <a:lstStyle>
            <a:lvl1pPr marL="0" indent="0" algn="r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AU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quarter" idx="10"/>
          </p:nvPr>
        </p:nvSpPr>
        <p:spPr>
          <a:xfrm>
            <a:off x="6465888" y="3922713"/>
            <a:ext cx="2133600" cy="476250"/>
          </a:xfrm>
        </p:spPr>
        <p:txBody>
          <a:bodyPr anchor="t"/>
          <a:lstStyle>
            <a:lvl1pPr algn="r">
              <a:defRPr sz="18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984A3A-22E4-4010-95E6-DB25AACB7F0A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1A2406-FBDC-4E0C-A63A-F15DE8199B24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4675" y="1485900"/>
            <a:ext cx="3935413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2488" y="1485900"/>
            <a:ext cx="3937000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B6FFC-8B07-4F7A-9744-CAC52096725A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526FAB-3AF9-4392-BBE8-F3740C071A9A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73DD57-D14D-452D-A906-675191C7C5E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68A415-7846-4382-BB22-A856D075349E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0CA5C-16F6-4F11-8510-22511E841605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493068-9A76-4E3B-841A-E441167C91C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A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81955F-5D86-4D6B-8E89-D75839E5629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3487B7-9D3B-493B-8EF0-6A8406EBD078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4475" y="574675"/>
            <a:ext cx="2005013" cy="45100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4675" y="574675"/>
            <a:ext cx="5867400" cy="45100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C1DD31-EA61-450D-AA2D-6E04AFD1E59E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NZP0060_Presentation_DividerPag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5" descr="ANZP0060_Reports_Logo"/>
          <p:cNvPicPr>
            <a:picLocks noChangeAspect="1" noChangeArrowheads="1"/>
          </p:cNvPicPr>
          <p:nvPr/>
        </p:nvPicPr>
        <p:blipFill>
          <a:blip r:embed="rId4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145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4525" y="2420938"/>
            <a:ext cx="7948613" cy="720725"/>
          </a:xfrm>
        </p:spPr>
        <p:txBody>
          <a:bodyPr/>
          <a:lstStyle>
            <a:lvl1pPr algn="r">
              <a:defRPr sz="3500">
                <a:solidFill>
                  <a:schemeClr val="accent1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53146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4525" y="3151188"/>
            <a:ext cx="7948613" cy="638175"/>
          </a:xfrm>
        </p:spPr>
        <p:txBody>
          <a:bodyPr/>
          <a:lstStyle>
            <a:lvl1pPr marL="0" indent="0" algn="r">
              <a:buFontTx/>
              <a:buNone/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edit Master subtitle style</a:t>
            </a:r>
          </a:p>
        </p:txBody>
      </p:sp>
      <p:sp>
        <p:nvSpPr>
          <p:cNvPr id="6" name="Rectangle 1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3B525-D275-4704-B80B-F8C9B59184E3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4716C3-A268-4E7A-9901-8DDEADB1C182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3369F4-BCFA-4997-B5F3-2380A469A86E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4675" y="1485900"/>
            <a:ext cx="3935413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2488" y="1485900"/>
            <a:ext cx="3937000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9B8806-88E1-41CD-935E-9FC0E21572E9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8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D0D464-41E5-4D17-BACC-A1426D2322F2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F68654-4252-4B50-83B0-AB284755621A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F1E925-B58C-4AFC-BD32-06B5DDDF6EEE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3CAEFD-0A25-43FB-A511-F187E620F5F8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85AD38-590C-4957-9DF2-7F011D0A0048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A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E20CA4-66F3-4C74-9C76-59CB4C0EEEDF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C47222-844B-4441-9786-C8F707E8E972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4475" y="574675"/>
            <a:ext cx="2005013" cy="45100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4675" y="574675"/>
            <a:ext cx="5867400" cy="45100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3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8465E6-56DC-48D7-9569-3963705A11D5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NZP0060_Reports_PerspectiveShap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6" descr="ANZP0060_Reports_Logo"/>
          <p:cNvPicPr>
            <a:picLocks noChangeAspect="1" noChangeArrowheads="1"/>
          </p:cNvPicPr>
          <p:nvPr/>
        </p:nvPicPr>
        <p:blipFill>
          <a:blip r:embed="rId4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638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851275" y="1978025"/>
            <a:ext cx="4708525" cy="1011238"/>
          </a:xfrm>
        </p:spPr>
        <p:txBody>
          <a:bodyPr/>
          <a:lstStyle>
            <a:lvl1pPr algn="r">
              <a:defRPr sz="3500">
                <a:solidFill>
                  <a:schemeClr val="bg2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65638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851275" y="3273425"/>
            <a:ext cx="4708525" cy="550863"/>
          </a:xfrm>
        </p:spPr>
        <p:txBody>
          <a:bodyPr/>
          <a:lstStyle>
            <a:lvl1pPr marL="0" indent="0" algn="r">
              <a:buFontTx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r>
              <a:rPr lang="en-AU"/>
              <a:t>Click to edit Master subtitle styl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quarter" idx="10"/>
          </p:nvPr>
        </p:nvSpPr>
        <p:spPr>
          <a:xfrm>
            <a:off x="6426200" y="3922713"/>
            <a:ext cx="2133600" cy="476250"/>
          </a:xfrm>
        </p:spPr>
        <p:txBody>
          <a:bodyPr/>
          <a:lstStyle>
            <a:lvl1pPr algn="r">
              <a:defRPr sz="180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F47594-7AEB-4C41-B9B0-3F513578CE39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27D6E2-87B1-4E7E-94ED-094C8B0D7B29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4675" y="971550"/>
            <a:ext cx="3935413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2488" y="971550"/>
            <a:ext cx="3937000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2DDA87-21D6-4532-A6DA-B80222651224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C733EE-A490-4FA3-A6A1-953E873CF810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705F9F-2158-4FC1-A008-62561B9A1261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4675" y="1485900"/>
            <a:ext cx="3935413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2488" y="1485900"/>
            <a:ext cx="3937000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38CD73-66DE-4ADD-8881-58CC0F9B3670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CB255B-AB00-45E0-A4CA-C709707BC02F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69ADC5-57E8-4E7B-8794-2908CA068F5F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A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2AC80-CDAD-4970-9C70-738697E5B794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879639-491B-40C9-AFF3-E99078587B1E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94475" y="358775"/>
            <a:ext cx="2005013" cy="42116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4675" y="358775"/>
            <a:ext cx="5867400" cy="42116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9C91BD-7F6D-49A8-BB09-8FD5F250C670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ANZP0060_Presentation_PerspectiveShap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5" descr="ANZP0060_Reports_Logo"/>
          <p:cNvPicPr>
            <a:picLocks noChangeAspect="1" noChangeArrowheads="1"/>
          </p:cNvPicPr>
          <p:nvPr/>
        </p:nvPicPr>
        <p:blipFill>
          <a:blip r:embed="rId3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890963" y="1690688"/>
            <a:ext cx="4708525" cy="1235075"/>
          </a:xfrm>
        </p:spPr>
        <p:txBody>
          <a:bodyPr/>
          <a:lstStyle>
            <a:lvl1pPr algn="r">
              <a:defRPr sz="35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889375" y="3273425"/>
            <a:ext cx="4708525" cy="550863"/>
          </a:xfrm>
        </p:spPr>
        <p:txBody>
          <a:bodyPr/>
          <a:lstStyle>
            <a:lvl1pPr marL="0" indent="0" algn="r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quarter" idx="10"/>
          </p:nvPr>
        </p:nvSpPr>
        <p:spPr>
          <a:xfrm>
            <a:off x="6465888" y="3922713"/>
            <a:ext cx="2133600" cy="476250"/>
          </a:xfrm>
        </p:spPr>
        <p:txBody>
          <a:bodyPr anchor="t"/>
          <a:lstStyle>
            <a:lvl1pPr algn="r">
              <a:defRPr sz="18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2"/>
          </p:nvPr>
        </p:nvSpPr>
        <p:spPr>
          <a:xfrm>
            <a:off x="574430" y="1739900"/>
            <a:ext cx="8025057" cy="439420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74430" y="1347787"/>
            <a:ext cx="8025057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29B71F-BF03-4939-9515-D348EFC5E23D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AU"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574431" y="1739900"/>
            <a:ext cx="2619619" cy="439420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74431" y="1347787"/>
            <a:ext cx="2619619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9"/>
          </p:nvPr>
        </p:nvSpPr>
        <p:spPr>
          <a:xfrm>
            <a:off x="3282950" y="1739900"/>
            <a:ext cx="2619619" cy="439420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20"/>
          </p:nvPr>
        </p:nvSpPr>
        <p:spPr>
          <a:xfrm>
            <a:off x="5997331" y="1731963"/>
            <a:ext cx="2619619" cy="439420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3285881" y="1347787"/>
            <a:ext cx="2619619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5997331" y="1339850"/>
            <a:ext cx="2619619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algn="ctr">
              <a:defRPr sz="800" b="1">
                <a:solidFill>
                  <a:srgbClr val="007DBA"/>
                </a:solidFill>
              </a:defRPr>
            </a:lvl1pPr>
          </a:lstStyle>
          <a:p>
            <a:pPr>
              <a:defRPr/>
            </a:pPr>
            <a:fld id="{484758C5-0ED5-43CB-B799-004AC72AF6A4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AU"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574431" y="1739900"/>
            <a:ext cx="2619619" cy="315595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74431" y="1347787"/>
            <a:ext cx="2619619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9"/>
          </p:nvPr>
        </p:nvSpPr>
        <p:spPr>
          <a:xfrm>
            <a:off x="3282950" y="1739900"/>
            <a:ext cx="2619619" cy="315595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20"/>
          </p:nvPr>
        </p:nvSpPr>
        <p:spPr>
          <a:xfrm>
            <a:off x="5997331" y="1731963"/>
            <a:ext cx="2619619" cy="315595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3285881" y="1347787"/>
            <a:ext cx="2619619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5997331" y="1339850"/>
            <a:ext cx="2619619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23"/>
          </p:nvPr>
        </p:nvSpPr>
        <p:spPr>
          <a:xfrm>
            <a:off x="571500" y="5029200"/>
            <a:ext cx="8045450" cy="111125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ctr">
              <a:defRPr sz="800" b="1">
                <a:solidFill>
                  <a:srgbClr val="007DBA"/>
                </a:solidFill>
              </a:defRPr>
            </a:lvl1pPr>
          </a:lstStyle>
          <a:p>
            <a:pPr>
              <a:defRPr/>
            </a:pPr>
            <a:fld id="{8EA37136-8A32-46DE-B5C2-25BB79BC2E17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AU"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2" name="Content Placeholder 2"/>
          <p:cNvSpPr>
            <a:spLocks noGrp="1"/>
          </p:cNvSpPr>
          <p:nvPr>
            <p:ph sz="half" idx="16"/>
          </p:nvPr>
        </p:nvSpPr>
        <p:spPr>
          <a:xfrm>
            <a:off x="2971800" y="1731963"/>
            <a:ext cx="5621216" cy="439420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2971800" y="1339850"/>
            <a:ext cx="5621216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ctr">
              <a:defRPr sz="800" b="1">
                <a:solidFill>
                  <a:srgbClr val="007DBA"/>
                </a:solidFill>
              </a:defRPr>
            </a:lvl1pPr>
          </a:lstStyle>
          <a:p>
            <a:pPr>
              <a:defRPr/>
            </a:pPr>
            <a:fld id="{6C874C8E-79DD-4222-9FF0-9892AE7D236D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8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BA1635-4E36-4BD9-98F2-0651F4697359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AU"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2980106" y="1739900"/>
            <a:ext cx="5622681" cy="2000827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2982222" y="1347787"/>
            <a:ext cx="5620563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17"/>
          </p:nvPr>
        </p:nvSpPr>
        <p:spPr>
          <a:xfrm>
            <a:off x="2971800" y="4132263"/>
            <a:ext cx="5622681" cy="2000827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973916" y="3740150"/>
            <a:ext cx="5620563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 sz="800" b="1">
                <a:solidFill>
                  <a:srgbClr val="007DBA"/>
                </a:solidFill>
              </a:defRPr>
            </a:lvl1pPr>
          </a:lstStyle>
          <a:p>
            <a:pPr>
              <a:defRPr/>
            </a:pPr>
            <a:fld id="{3942E165-61DB-4248-9181-670A30DBF1EF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AU"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4715119" y="1739900"/>
            <a:ext cx="3889131" cy="284480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715119" y="1347787"/>
            <a:ext cx="3887666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17"/>
          </p:nvPr>
        </p:nvSpPr>
        <p:spPr>
          <a:xfrm>
            <a:off x="566738" y="4851400"/>
            <a:ext cx="8027743" cy="128169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9"/>
          </p:nvPr>
        </p:nvSpPr>
        <p:spPr>
          <a:xfrm>
            <a:off x="579806" y="1747260"/>
            <a:ext cx="3889131" cy="283744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581269" y="1355147"/>
            <a:ext cx="3887666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ctr">
              <a:defRPr sz="800" b="1">
                <a:solidFill>
                  <a:srgbClr val="007DBA"/>
                </a:solidFill>
              </a:defRPr>
            </a:lvl1pPr>
          </a:lstStyle>
          <a:p>
            <a:pPr>
              <a:defRPr/>
            </a:pPr>
            <a:fld id="{1948C11C-4E82-45A6-82A4-C41A4DB6017F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AU"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4713656" y="1739900"/>
            <a:ext cx="3889131" cy="2000827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715119" y="1347787"/>
            <a:ext cx="3887666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17"/>
          </p:nvPr>
        </p:nvSpPr>
        <p:spPr>
          <a:xfrm>
            <a:off x="4705350" y="4132263"/>
            <a:ext cx="3889131" cy="2000827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706813" y="3740150"/>
            <a:ext cx="3887666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9"/>
          </p:nvPr>
        </p:nvSpPr>
        <p:spPr>
          <a:xfrm>
            <a:off x="579806" y="1747260"/>
            <a:ext cx="3889131" cy="2000827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581269" y="1355147"/>
            <a:ext cx="3887666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1"/>
          </p:nvPr>
        </p:nvSpPr>
        <p:spPr>
          <a:xfrm>
            <a:off x="571500" y="4139623"/>
            <a:ext cx="3889131" cy="2000827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572963" y="3747510"/>
            <a:ext cx="3887666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algn="ctr">
              <a:defRPr sz="800" b="1">
                <a:solidFill>
                  <a:srgbClr val="007DBA"/>
                </a:solidFill>
              </a:defRPr>
            </a:lvl1pPr>
          </a:lstStyle>
          <a:p>
            <a:pPr>
              <a:defRPr/>
            </a:pPr>
            <a:fld id="{514103EA-41C5-4F2B-B678-1313B7DD2817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574675" y="1295400"/>
            <a:ext cx="2136775" cy="1644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574675" y="2940050"/>
            <a:ext cx="2136775" cy="1644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574675" y="4584700"/>
            <a:ext cx="2136775" cy="1644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9" name="Rectangle 22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F4B658-054C-4B20-A0A6-343ADE89F857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577850" y="1784350"/>
            <a:ext cx="1949450" cy="16891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2607733" y="1784350"/>
            <a:ext cx="1949450" cy="16891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4637616" y="1784350"/>
            <a:ext cx="1949450" cy="16891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6667500" y="1784350"/>
            <a:ext cx="1949450" cy="16891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6"/>
          </p:nvPr>
        </p:nvSpPr>
        <p:spPr>
          <a:xfrm>
            <a:off x="571500" y="4051300"/>
            <a:ext cx="1949450" cy="16891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7"/>
          </p:nvPr>
        </p:nvSpPr>
        <p:spPr>
          <a:xfrm>
            <a:off x="2601383" y="4051300"/>
            <a:ext cx="1949450" cy="16891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8"/>
          </p:nvPr>
        </p:nvSpPr>
        <p:spPr>
          <a:xfrm>
            <a:off x="4631266" y="4051300"/>
            <a:ext cx="1949450" cy="16891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3" name="Content Placeholder 5"/>
          <p:cNvSpPr>
            <a:spLocks noGrp="1"/>
          </p:cNvSpPr>
          <p:nvPr>
            <p:ph sz="quarter" idx="19"/>
          </p:nvPr>
        </p:nvSpPr>
        <p:spPr>
          <a:xfrm>
            <a:off x="6661150" y="4051300"/>
            <a:ext cx="1949450" cy="16891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14" name="Rectangle 22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FEC5E7-DF1D-41C4-B307-4D57EA348435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AU"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ECA53F-043B-4250-B8DE-D760B9213C7D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AU"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4675" y="1485900"/>
            <a:ext cx="3935413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2488" y="1485900"/>
            <a:ext cx="3937000" cy="3598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001A91-9976-4FA7-AD66-5B495C5CA9AC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9624C9-179F-4FC2-AC9E-301DD57CBAD8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C969D7-10F5-4AE7-A52A-E5B3AFD8E416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2"/>
          </p:nvPr>
        </p:nvSpPr>
        <p:spPr>
          <a:xfrm>
            <a:off x="574430" y="1739900"/>
            <a:ext cx="8025057" cy="439420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74430" y="1347787"/>
            <a:ext cx="8025057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DCA0AF-C291-4F57-BC2D-1F563B882DCA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8228C6-1E65-46F4-83E1-696A672CDDF8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2"/>
          </p:nvPr>
        </p:nvSpPr>
        <p:spPr>
          <a:xfrm>
            <a:off x="574430" y="1739900"/>
            <a:ext cx="8025057" cy="439420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74430" y="1347787"/>
            <a:ext cx="8025057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9AA6D6-464F-4359-A1F7-078D768542BC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2"/>
          </p:nvPr>
        </p:nvSpPr>
        <p:spPr>
          <a:xfrm>
            <a:off x="574430" y="1739900"/>
            <a:ext cx="8025057" cy="4394200"/>
          </a:xfr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74430" y="1347787"/>
            <a:ext cx="8025057" cy="392113"/>
          </a:xfrm>
        </p:spPr>
        <p:txBody>
          <a:bodyPr anchor="ctr"/>
          <a:lstStyle>
            <a:lvl1pPr algn="ctr">
              <a:buNone/>
              <a:defRPr b="1">
                <a:solidFill>
                  <a:srgbClr val="004165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A86C07-2E6E-4640-919D-9BDF4EFE99E9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61925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4850" y="161925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51D835-44D5-40BA-A925-4A6CEA71E1AA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30975" y="574675"/>
            <a:ext cx="2068513" cy="55705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574675"/>
            <a:ext cx="6054725" cy="55705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E342B0-958C-4EF9-A740-AF8784442443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A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C4264F-3870-4B78-B1A4-D712E85E1AEF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574675"/>
            <a:ext cx="8024813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</a:p>
        </p:txBody>
      </p:sp>
      <p:sp>
        <p:nvSpPr>
          <p:cNvPr id="1027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485900"/>
            <a:ext cx="8024813" cy="359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</a:p>
        </p:txBody>
      </p:sp>
      <p:sp>
        <p:nvSpPr>
          <p:cNvPr id="19473" name="Line 17"/>
          <p:cNvSpPr>
            <a:spLocks noChangeShapeType="1"/>
          </p:cNvSpPr>
          <p:nvPr/>
        </p:nvSpPr>
        <p:spPr bwMode="auto">
          <a:xfrm>
            <a:off x="574675" y="1196975"/>
            <a:ext cx="8024813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AU">
              <a:cs typeface="Arial" pitchFamily="34" charset="0"/>
            </a:endParaRPr>
          </a:p>
        </p:txBody>
      </p:sp>
      <p:sp>
        <p:nvSpPr>
          <p:cNvPr id="19478" name="Rectangle 2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7850" y="6486525"/>
            <a:ext cx="2133600" cy="1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tx2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19479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2600" y="6459538"/>
            <a:ext cx="4064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2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9F01395C-A3ED-49B7-9D52-D40B20779E40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pic>
        <p:nvPicPr>
          <p:cNvPr id="1031" name="Picture 24" descr="ANZP0060_Reports_Logo"/>
          <p:cNvPicPr>
            <a:picLocks noChangeAspect="1" noChangeArrowheads="1"/>
          </p:cNvPicPr>
          <p:nvPr/>
        </p:nvPicPr>
        <p:blipFill>
          <a:blip r:embed="rId13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773" r:id="rId2"/>
    <p:sldLayoutId id="2147483772" r:id="rId3"/>
    <p:sldLayoutId id="2147483771" r:id="rId4"/>
    <p:sldLayoutId id="2147483770" r:id="rId5"/>
    <p:sldLayoutId id="2147483769" r:id="rId6"/>
    <p:sldLayoutId id="2147483768" r:id="rId7"/>
    <p:sldLayoutId id="2147483767" r:id="rId8"/>
    <p:sldLayoutId id="2147483766" r:id="rId9"/>
    <p:sldLayoutId id="2147483765" r:id="rId10"/>
    <p:sldLayoutId id="214748376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5pPr>
      <a:lvl6pPr marL="20716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6pPr>
      <a:lvl7pPr marL="25288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7pPr>
      <a:lvl8pPr marL="29860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8pPr>
      <a:lvl9pPr marL="34432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574675"/>
            <a:ext cx="8024813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</a:p>
        </p:txBody>
      </p:sp>
      <p:sp>
        <p:nvSpPr>
          <p:cNvPr id="648198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7850" y="6486525"/>
            <a:ext cx="2133600" cy="1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tx2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4819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2600" y="6459538"/>
            <a:ext cx="4064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2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A44C465C-87B5-46EF-8EBF-A9E7179882D8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1331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485900"/>
            <a:ext cx="8024813" cy="359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</a:p>
        </p:txBody>
      </p:sp>
      <p:sp>
        <p:nvSpPr>
          <p:cNvPr id="648201" name="Line 9"/>
          <p:cNvSpPr>
            <a:spLocks noChangeShapeType="1"/>
          </p:cNvSpPr>
          <p:nvPr/>
        </p:nvSpPr>
        <p:spPr bwMode="auto">
          <a:xfrm>
            <a:off x="574675" y="1196975"/>
            <a:ext cx="8024813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AU">
              <a:cs typeface="Arial" pitchFamily="34" charset="0"/>
            </a:endParaRPr>
          </a:p>
        </p:txBody>
      </p:sp>
      <p:pic>
        <p:nvPicPr>
          <p:cNvPr id="13319" name="Picture 11" descr="ANZP0060_Reports_Logo"/>
          <p:cNvPicPr>
            <a:picLocks noChangeAspect="1" noChangeArrowheads="1"/>
          </p:cNvPicPr>
          <p:nvPr/>
        </p:nvPicPr>
        <p:blipFill>
          <a:blip r:embed="rId13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783" r:id="rId2"/>
    <p:sldLayoutId id="2147483782" r:id="rId3"/>
    <p:sldLayoutId id="2147483781" r:id="rId4"/>
    <p:sldLayoutId id="2147483780" r:id="rId5"/>
    <p:sldLayoutId id="2147483779" r:id="rId6"/>
    <p:sldLayoutId id="2147483778" r:id="rId7"/>
    <p:sldLayoutId id="2147483777" r:id="rId8"/>
    <p:sldLayoutId id="2147483776" r:id="rId9"/>
    <p:sldLayoutId id="2147483775" r:id="rId10"/>
    <p:sldLayoutId id="214748377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5pPr>
      <a:lvl6pPr marL="20716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6pPr>
      <a:lvl7pPr marL="25288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7pPr>
      <a:lvl8pPr marL="29860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8pPr>
      <a:lvl9pPr marL="34432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31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574675"/>
            <a:ext cx="8024813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</a:p>
        </p:txBody>
      </p:sp>
      <p:sp>
        <p:nvSpPr>
          <p:cNvPr id="530467" name="Rectangle 3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7850" y="6486525"/>
            <a:ext cx="2133600" cy="1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tx2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30468" name="Rectangle 3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2600" y="6459538"/>
            <a:ext cx="4064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2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D5DB2BCA-AD95-481D-B7C7-AE0D4A11E5D5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25605" name="Rectangle 3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485900"/>
            <a:ext cx="8024813" cy="359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</a:p>
        </p:txBody>
      </p:sp>
      <p:sp>
        <p:nvSpPr>
          <p:cNvPr id="530470" name="Line 38"/>
          <p:cNvSpPr>
            <a:spLocks noChangeShapeType="1"/>
          </p:cNvSpPr>
          <p:nvPr/>
        </p:nvSpPr>
        <p:spPr bwMode="auto">
          <a:xfrm>
            <a:off x="574675" y="1196975"/>
            <a:ext cx="8024813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AU">
              <a:cs typeface="Arial" pitchFamily="34" charset="0"/>
            </a:endParaRPr>
          </a:p>
        </p:txBody>
      </p:sp>
      <p:pic>
        <p:nvPicPr>
          <p:cNvPr id="25607" name="Picture 39" descr="ANZP0060_Reports_Logo"/>
          <p:cNvPicPr>
            <a:picLocks noChangeAspect="1" noChangeArrowheads="1"/>
          </p:cNvPicPr>
          <p:nvPr/>
        </p:nvPicPr>
        <p:blipFill>
          <a:blip r:embed="rId13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793" r:id="rId2"/>
    <p:sldLayoutId id="2147483792" r:id="rId3"/>
    <p:sldLayoutId id="2147483791" r:id="rId4"/>
    <p:sldLayoutId id="2147483790" r:id="rId5"/>
    <p:sldLayoutId id="2147483789" r:id="rId6"/>
    <p:sldLayoutId id="2147483788" r:id="rId7"/>
    <p:sldLayoutId id="2147483787" r:id="rId8"/>
    <p:sldLayoutId id="2147483786" r:id="rId9"/>
    <p:sldLayoutId id="2147483785" r:id="rId10"/>
    <p:sldLayoutId id="214748378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cs typeface="+mn-cs"/>
        </a:defRPr>
      </a:lvl5pPr>
      <a:lvl6pPr marL="20716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cs typeface="+mn-cs"/>
        </a:defRPr>
      </a:lvl6pPr>
      <a:lvl7pPr marL="25288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cs typeface="+mn-cs"/>
        </a:defRPr>
      </a:lvl7pPr>
      <a:lvl8pPr marL="29860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cs typeface="+mn-cs"/>
        </a:defRPr>
      </a:lvl8pPr>
      <a:lvl9pPr marL="3443288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358775"/>
            <a:ext cx="802481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971550"/>
            <a:ext cx="8024813" cy="359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</a:p>
        </p:txBody>
      </p:sp>
      <p:sp>
        <p:nvSpPr>
          <p:cNvPr id="655364" name="Line 4"/>
          <p:cNvSpPr>
            <a:spLocks noChangeShapeType="1"/>
          </p:cNvSpPr>
          <p:nvPr/>
        </p:nvSpPr>
        <p:spPr bwMode="auto">
          <a:xfrm>
            <a:off x="574675" y="836613"/>
            <a:ext cx="8024813" cy="0"/>
          </a:xfrm>
          <a:prstGeom prst="line">
            <a:avLst/>
          </a:prstGeom>
          <a:noFill/>
          <a:ln w="6350">
            <a:solidFill>
              <a:srgbClr val="007DBA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AU">
              <a:cs typeface="Arial" pitchFamily="34" charset="0"/>
            </a:endParaRPr>
          </a:p>
        </p:txBody>
      </p:sp>
      <p:sp>
        <p:nvSpPr>
          <p:cNvPr id="65536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7850" y="6548438"/>
            <a:ext cx="21336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accent1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5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92600" y="6530975"/>
            <a:ext cx="4064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accent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3F303A44-9F6F-4FA2-926E-8E06264BDEEF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pic>
        <p:nvPicPr>
          <p:cNvPr id="37895" name="Picture 7" descr="ANZP0060_Reports_Logo"/>
          <p:cNvPicPr>
            <a:picLocks noChangeAspect="1" noChangeArrowheads="1"/>
          </p:cNvPicPr>
          <p:nvPr/>
        </p:nvPicPr>
        <p:blipFill>
          <a:blip r:embed="rId13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03" r:id="rId2"/>
    <p:sldLayoutId id="2147483802" r:id="rId3"/>
    <p:sldLayoutId id="2147483801" r:id="rId4"/>
    <p:sldLayoutId id="2147483800" r:id="rId5"/>
    <p:sldLayoutId id="2147483799" r:id="rId6"/>
    <p:sldLayoutId id="2147483798" r:id="rId7"/>
    <p:sldLayoutId id="2147483797" r:id="rId8"/>
    <p:sldLayoutId id="2147483796" r:id="rId9"/>
    <p:sldLayoutId id="2147483795" r:id="rId10"/>
    <p:sldLayoutId id="214748379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7DBA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7DBA"/>
          </a:solidFill>
          <a:latin typeface="Verdana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7DBA"/>
          </a:solidFill>
          <a:latin typeface="Verdana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7DBA"/>
          </a:solidFill>
          <a:latin typeface="Verdana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7DBA"/>
          </a:solidFill>
          <a:latin typeface="Verdana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007DBA"/>
          </a:solidFill>
          <a:latin typeface="Verdana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007DBA"/>
          </a:solidFill>
          <a:latin typeface="Verdana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007DBA"/>
          </a:solidFill>
          <a:latin typeface="Verdana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007DBA"/>
          </a:solidFill>
          <a:latin typeface="Verdana" pitchFamily="34" charset="0"/>
          <a:cs typeface="Arial" pitchFamily="34" charset="0"/>
        </a:defRPr>
      </a:lvl9pPr>
    </p:titleStyle>
    <p:bodyStyle>
      <a:lvl1pPr marL="182563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778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200">
          <a:solidFill>
            <a:schemeClr val="tx1"/>
          </a:solidFill>
          <a:latin typeface="+mn-lt"/>
          <a:cs typeface="+mn-cs"/>
        </a:defRPr>
      </a:lvl2pPr>
      <a:lvl3pPr marL="895350" indent="-1762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252538" indent="-1778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200">
          <a:solidFill>
            <a:schemeClr val="tx1"/>
          </a:solidFill>
          <a:latin typeface="+mn-lt"/>
          <a:cs typeface="+mn-cs"/>
        </a:defRPr>
      </a:lvl4pPr>
      <a:lvl5pPr marL="1619250" indent="-1873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076450" indent="-1873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533650" indent="-1873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2990850" indent="-1873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448050" indent="-1873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574675"/>
            <a:ext cx="8024813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AU" smtClean="0"/>
          </a:p>
        </p:txBody>
      </p:sp>
      <p:sp>
        <p:nvSpPr>
          <p:cNvPr id="50179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485900"/>
            <a:ext cx="8024813" cy="359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smtClean="0"/>
          </a:p>
        </p:txBody>
      </p:sp>
      <p:sp>
        <p:nvSpPr>
          <p:cNvPr id="19473" name="Line 17"/>
          <p:cNvSpPr>
            <a:spLocks noChangeShapeType="1"/>
          </p:cNvSpPr>
          <p:nvPr/>
        </p:nvSpPr>
        <p:spPr bwMode="auto">
          <a:xfrm>
            <a:off x="574675" y="1196975"/>
            <a:ext cx="8024813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AU" dirty="0">
              <a:cs typeface="Arial" pitchFamily="34" charset="0"/>
            </a:endParaRPr>
          </a:p>
        </p:txBody>
      </p:sp>
      <p:sp>
        <p:nvSpPr>
          <p:cNvPr id="19478" name="Rectangle 2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7850" y="6486525"/>
            <a:ext cx="2133600" cy="1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tx2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en-AU"/>
          </a:p>
        </p:txBody>
      </p:sp>
      <p:pic>
        <p:nvPicPr>
          <p:cNvPr id="50182" name="Picture 24" descr="ANZP0060_Reports_Logo"/>
          <p:cNvPicPr>
            <a:picLocks noChangeAspect="1" noChangeArrowheads="1"/>
          </p:cNvPicPr>
          <p:nvPr/>
        </p:nvPicPr>
        <p:blipFill>
          <a:blip r:embed="rId19" cstate="print"/>
          <a:srcRect l="5717" t="12979" r="24504" b="21632"/>
          <a:stretch>
            <a:fillRect/>
          </a:stretch>
        </p:blipFill>
        <p:spPr bwMode="auto">
          <a:xfrm>
            <a:off x="7143750" y="6189663"/>
            <a:ext cx="14747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ctr">
              <a:defRPr sz="800" b="1">
                <a:solidFill>
                  <a:srgbClr val="007DBA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BBB6FF76-BEA2-4456-810B-29D5922A4AE7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13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12" r:id="rId9"/>
    <p:sldLayoutId id="2147483811" r:id="rId10"/>
    <p:sldLayoutId id="2147483810" r:id="rId11"/>
    <p:sldLayoutId id="2147483809" r:id="rId12"/>
    <p:sldLayoutId id="2147483808" r:id="rId13"/>
    <p:sldLayoutId id="2147483807" r:id="rId14"/>
    <p:sldLayoutId id="2147483806" r:id="rId15"/>
    <p:sldLayoutId id="2147483805" r:id="rId16"/>
    <p:sldLayoutId id="2147483804" r:id="rId1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Verdana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  <a:cs typeface="Arial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  <a:cs typeface="+mn-cs"/>
        </a:defRPr>
      </a:lvl5pPr>
      <a:lvl6pPr marL="2071688" indent="-1762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6pPr>
      <a:lvl7pPr marL="2528888" indent="-1762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7pPr>
      <a:lvl8pPr marL="2986088" indent="-1762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8pPr>
      <a:lvl9pPr marL="3443288" indent="-1762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8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61925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</a:p>
        </p:txBody>
      </p:sp>
      <p:pic>
        <p:nvPicPr>
          <p:cNvPr id="178181" name="Picture 5" descr="ANZ_LOGO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664450" y="6332538"/>
            <a:ext cx="1166813" cy="420687"/>
          </a:xfrm>
          <a:prstGeom prst="rect">
            <a:avLst/>
          </a:prstGeom>
          <a:noFill/>
        </p:spPr>
      </p:pic>
      <p:sp>
        <p:nvSpPr>
          <p:cNvPr id="17818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574675"/>
            <a:ext cx="8024813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</a:p>
        </p:txBody>
      </p:sp>
      <p:sp>
        <p:nvSpPr>
          <p:cNvPr id="648201" name="Line 9"/>
          <p:cNvSpPr>
            <a:spLocks noChangeShapeType="1"/>
          </p:cNvSpPr>
          <p:nvPr userDrawn="1"/>
        </p:nvSpPr>
        <p:spPr bwMode="auto">
          <a:xfrm>
            <a:off x="574675" y="1196975"/>
            <a:ext cx="8024813" cy="0"/>
          </a:xfrm>
          <a:prstGeom prst="line">
            <a:avLst/>
          </a:prstGeom>
          <a:noFill/>
          <a:ln w="6350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AU"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  <a:cs typeface="Arial" charset="0"/>
        </a:defRPr>
      </a:lvl9pPr>
    </p:titleStyle>
    <p:bodyStyle>
      <a:lvl1pPr marL="174625" indent="-174625" algn="l" rtl="0" fontAlgn="base">
        <a:spcBef>
          <a:spcPct val="20000"/>
        </a:spcBef>
        <a:spcAft>
          <a:spcPct val="50000"/>
        </a:spcAft>
        <a:buClr>
          <a:schemeClr val="accent2"/>
        </a:buClr>
        <a:buFont typeface="Verdana" pitchFamily="34" charset="0"/>
        <a:buChar char="&gt;"/>
        <a:defRPr sz="1000">
          <a:solidFill>
            <a:schemeClr val="tx1"/>
          </a:solidFill>
          <a:latin typeface="+mn-lt"/>
          <a:ea typeface="+mn-ea"/>
          <a:cs typeface="+mn-cs"/>
        </a:defRPr>
      </a:lvl1pPr>
      <a:lvl2pPr marL="349250" indent="-173038" algn="l" rtl="0" fontAlgn="base">
        <a:spcBef>
          <a:spcPct val="20000"/>
        </a:spcBef>
        <a:spcAft>
          <a:spcPct val="50000"/>
        </a:spcAft>
        <a:buClr>
          <a:schemeClr val="accent2"/>
        </a:buClr>
        <a:buFont typeface="Verdana" pitchFamily="34" charset="0"/>
        <a:buChar char="—"/>
        <a:defRPr sz="1000">
          <a:solidFill>
            <a:schemeClr val="tx1"/>
          </a:solidFill>
          <a:latin typeface="+mn-lt"/>
          <a:cs typeface="+mn-cs"/>
        </a:defRPr>
      </a:lvl2pPr>
      <a:lvl3pPr marL="517525" indent="-166688" algn="l" rtl="0" fontAlgn="base">
        <a:spcBef>
          <a:spcPct val="20000"/>
        </a:spcBef>
        <a:spcAft>
          <a:spcPct val="50000"/>
        </a:spcAft>
        <a:buClr>
          <a:schemeClr val="accent2"/>
        </a:buClr>
        <a:buFont typeface="Verdana" pitchFamily="34" charset="0"/>
        <a:buChar char="–"/>
        <a:defRPr sz="1000">
          <a:solidFill>
            <a:schemeClr val="tx1"/>
          </a:solidFill>
          <a:latin typeface="+mn-lt"/>
          <a:cs typeface="+mn-cs"/>
        </a:defRPr>
      </a:lvl3pPr>
      <a:lvl4pPr marL="685800" indent="-166688" algn="l" rtl="0" fontAlgn="base">
        <a:spcBef>
          <a:spcPct val="20000"/>
        </a:spcBef>
        <a:spcAft>
          <a:spcPct val="50000"/>
        </a:spcAft>
        <a:buClr>
          <a:schemeClr val="accent2"/>
        </a:buClr>
        <a:buFont typeface="Verdana" pitchFamily="34" charset="0"/>
        <a:buChar char="–"/>
        <a:defRPr sz="1000">
          <a:solidFill>
            <a:schemeClr val="tx1"/>
          </a:solidFill>
          <a:latin typeface="+mn-lt"/>
          <a:cs typeface="+mn-cs"/>
        </a:defRPr>
      </a:lvl4pPr>
      <a:lvl5pPr marL="854075" indent="-166688" algn="l" rtl="0" fontAlgn="base">
        <a:spcBef>
          <a:spcPct val="20000"/>
        </a:spcBef>
        <a:spcAft>
          <a:spcPct val="50000"/>
        </a:spcAft>
        <a:buClr>
          <a:schemeClr val="accent2"/>
        </a:buClr>
        <a:buFont typeface="Verdana" pitchFamily="34" charset="0"/>
        <a:buChar char="–"/>
        <a:defRPr sz="1000">
          <a:solidFill>
            <a:schemeClr val="tx1"/>
          </a:solidFill>
          <a:latin typeface="+mn-lt"/>
          <a:cs typeface="+mn-cs"/>
        </a:defRPr>
      </a:lvl5pPr>
      <a:lvl6pPr marL="1311275" indent="-166688" algn="l" rtl="0" fontAlgn="base">
        <a:spcBef>
          <a:spcPct val="20000"/>
        </a:spcBef>
        <a:spcAft>
          <a:spcPct val="50000"/>
        </a:spcAft>
        <a:buClr>
          <a:schemeClr val="accent2"/>
        </a:buClr>
        <a:buFont typeface="Verdana" pitchFamily="34" charset="0"/>
        <a:buChar char="–"/>
        <a:defRPr sz="1000">
          <a:solidFill>
            <a:schemeClr val="tx1"/>
          </a:solidFill>
          <a:latin typeface="+mn-lt"/>
          <a:cs typeface="+mn-cs"/>
        </a:defRPr>
      </a:lvl6pPr>
      <a:lvl7pPr marL="1768475" indent="-166688" algn="l" rtl="0" fontAlgn="base">
        <a:spcBef>
          <a:spcPct val="20000"/>
        </a:spcBef>
        <a:spcAft>
          <a:spcPct val="50000"/>
        </a:spcAft>
        <a:buClr>
          <a:schemeClr val="accent2"/>
        </a:buClr>
        <a:buFont typeface="Verdana" pitchFamily="34" charset="0"/>
        <a:buChar char="–"/>
        <a:defRPr sz="1000">
          <a:solidFill>
            <a:schemeClr val="tx1"/>
          </a:solidFill>
          <a:latin typeface="+mn-lt"/>
          <a:cs typeface="+mn-cs"/>
        </a:defRPr>
      </a:lvl7pPr>
      <a:lvl8pPr marL="2225675" indent="-166688" algn="l" rtl="0" fontAlgn="base">
        <a:spcBef>
          <a:spcPct val="20000"/>
        </a:spcBef>
        <a:spcAft>
          <a:spcPct val="50000"/>
        </a:spcAft>
        <a:buClr>
          <a:schemeClr val="accent2"/>
        </a:buClr>
        <a:buFont typeface="Verdana" pitchFamily="34" charset="0"/>
        <a:buChar char="–"/>
        <a:defRPr sz="1000">
          <a:solidFill>
            <a:schemeClr val="tx1"/>
          </a:solidFill>
          <a:latin typeface="+mn-lt"/>
          <a:cs typeface="+mn-cs"/>
        </a:defRPr>
      </a:lvl8pPr>
      <a:lvl9pPr marL="2682875" indent="-166688" algn="l" rtl="0" fontAlgn="base">
        <a:spcBef>
          <a:spcPct val="20000"/>
        </a:spcBef>
        <a:spcAft>
          <a:spcPct val="50000"/>
        </a:spcAft>
        <a:buClr>
          <a:schemeClr val="accent2"/>
        </a:buClr>
        <a:buFont typeface="Verdana" pitchFamily="34" charset="0"/>
        <a:buChar char="–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image" Target="../media/image6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38524" y="1851025"/>
            <a:ext cx="5489575" cy="2844800"/>
          </a:xfrm>
        </p:spPr>
        <p:txBody>
          <a:bodyPr>
            <a:normAutofit fontScale="90000"/>
          </a:bodyPr>
          <a:lstStyle/>
          <a:p>
            <a:r>
              <a:rPr lang="en-GB" sz="2400" cap="all" dirty="0" smtClean="0"/>
              <a:t/>
            </a:r>
            <a:br>
              <a:rPr lang="en-GB" sz="2400" cap="all" dirty="0" smtClean="0"/>
            </a:br>
            <a:r>
              <a:rPr lang="en-AU" sz="2200" cap="all" dirty="0" smtClean="0"/>
              <a:t>Australia’s Competitiveness in Export Finance</a:t>
            </a:r>
            <a:r>
              <a:rPr lang="en-AU" sz="2000" dirty="0" smtClean="0"/>
              <a:t/>
            </a:r>
            <a:br>
              <a:rPr lang="en-AU" sz="2000" dirty="0" smtClean="0"/>
            </a:br>
            <a:r>
              <a:rPr lang="en-GB" sz="2400" dirty="0" smtClean="0"/>
              <a:t/>
            </a:r>
            <a:br>
              <a:rPr lang="en-GB" sz="2400" dirty="0" smtClean="0"/>
            </a:br>
            <a:r>
              <a:rPr lang="en-AU" sz="3100" dirty="0" smtClean="0"/>
              <a:t> </a:t>
            </a:r>
            <a:r>
              <a:rPr lang="en-AU" sz="1600" dirty="0" smtClean="0">
                <a:solidFill>
                  <a:schemeClr val="bg2"/>
                </a:solidFill>
              </a:rPr>
              <a:t/>
            </a:r>
            <a:br>
              <a:rPr lang="en-AU" sz="1600" dirty="0" smtClean="0">
                <a:solidFill>
                  <a:schemeClr val="bg2"/>
                </a:solidFill>
              </a:rPr>
            </a:br>
            <a:r>
              <a:rPr lang="en-AU" sz="1800" cap="all" dirty="0" smtClean="0">
                <a:solidFill>
                  <a:schemeClr val="accent3">
                    <a:lumMod val="75000"/>
                  </a:schemeClr>
                </a:solidFill>
              </a:rPr>
              <a:t>Building competitiveness in our</a:t>
            </a:r>
            <a:br>
              <a:rPr lang="en-AU" sz="1800" cap="all" dirty="0" smtClean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AU" sz="1800" cap="all" dirty="0" smtClean="0">
                <a:solidFill>
                  <a:schemeClr val="accent3">
                    <a:lumMod val="75000"/>
                  </a:schemeClr>
                </a:solidFill>
              </a:rPr>
              <a:t>export and maritime industries </a:t>
            </a:r>
            <a:r>
              <a:rPr lang="en-AU" sz="1600" dirty="0" smtClean="0"/>
              <a:t/>
            </a:r>
            <a:br>
              <a:rPr lang="en-AU" sz="1600" dirty="0" smtClean="0"/>
            </a:br>
            <a:r>
              <a:rPr lang="en-AU" sz="1600" dirty="0" smtClean="0">
                <a:solidFill>
                  <a:schemeClr val="accent1"/>
                </a:solidFill>
              </a:rPr>
              <a:t/>
            </a:r>
            <a:br>
              <a:rPr lang="en-AU" sz="1600" dirty="0" smtClean="0">
                <a:solidFill>
                  <a:schemeClr val="accent1"/>
                </a:solidFill>
              </a:rPr>
            </a:br>
            <a:r>
              <a:rPr lang="en-AU" sz="1400" dirty="0" smtClean="0">
                <a:solidFill>
                  <a:schemeClr val="accent1"/>
                </a:solidFill>
              </a:rPr>
              <a:t> </a:t>
            </a:r>
            <a:br>
              <a:rPr lang="en-AU" sz="1400" dirty="0" smtClean="0">
                <a:solidFill>
                  <a:schemeClr val="accent1"/>
                </a:solidFill>
              </a:rPr>
            </a:br>
            <a:r>
              <a:rPr lang="en-AU" sz="1400" dirty="0" smtClean="0">
                <a:solidFill>
                  <a:schemeClr val="accent1"/>
                </a:solidFill>
              </a:rPr>
              <a:t/>
            </a:r>
            <a:br>
              <a:rPr lang="en-AU" sz="1400" dirty="0" smtClean="0">
                <a:solidFill>
                  <a:schemeClr val="accent1"/>
                </a:solidFill>
              </a:rPr>
            </a:br>
            <a:r>
              <a:rPr lang="en-AU" sz="1400" dirty="0" smtClean="0">
                <a:solidFill>
                  <a:schemeClr val="accent1"/>
                </a:solidFill>
              </a:rPr>
              <a:t/>
            </a:r>
            <a:br>
              <a:rPr lang="en-AU" sz="1400" dirty="0" smtClean="0">
                <a:solidFill>
                  <a:schemeClr val="accent1"/>
                </a:solidFill>
              </a:rPr>
            </a:br>
            <a:r>
              <a:rPr lang="en-AU" sz="1400" dirty="0" smtClean="0">
                <a:solidFill>
                  <a:schemeClr val="accent1"/>
                </a:solidFill>
              </a:rPr>
              <a:t/>
            </a:r>
            <a:br>
              <a:rPr lang="en-AU" sz="1400" dirty="0" smtClean="0">
                <a:solidFill>
                  <a:schemeClr val="accent1"/>
                </a:solidFill>
              </a:rPr>
            </a:br>
            <a:r>
              <a:rPr lang="en-AU" sz="1400" dirty="0" smtClean="0">
                <a:solidFill>
                  <a:schemeClr val="accent1"/>
                </a:solidFill>
              </a:rPr>
              <a:t>MARK EVANS</a:t>
            </a:r>
            <a:br>
              <a:rPr lang="en-AU" sz="1400" dirty="0" smtClean="0">
                <a:solidFill>
                  <a:schemeClr val="accent1"/>
                </a:solidFill>
              </a:rPr>
            </a:br>
            <a:r>
              <a:rPr lang="en-GB" sz="1400" cap="all" dirty="0" smtClean="0">
                <a:solidFill>
                  <a:schemeClr val="accent1"/>
                </a:solidFill>
              </a:rPr>
              <a:t>GLOBAL HEAD </a:t>
            </a:r>
            <a:br>
              <a:rPr lang="en-GB" sz="1400" cap="all" dirty="0" smtClean="0">
                <a:solidFill>
                  <a:schemeClr val="accent1"/>
                </a:solidFill>
              </a:rPr>
            </a:br>
            <a:r>
              <a:rPr lang="en-GB" sz="1400" cap="all" dirty="0" smtClean="0">
                <a:solidFill>
                  <a:schemeClr val="accent1"/>
                </a:solidFill>
              </a:rPr>
              <a:t>TRADE &amp; SUPPLY CHAIN</a:t>
            </a:r>
            <a:r>
              <a:rPr lang="en-GB" sz="1400" dirty="0" smtClean="0">
                <a:solidFill>
                  <a:schemeClr val="accent1"/>
                </a:solidFill>
              </a:rPr>
              <a:t/>
            </a:r>
            <a:br>
              <a:rPr lang="en-GB" sz="1400" dirty="0" smtClean="0">
                <a:solidFill>
                  <a:schemeClr val="accent1"/>
                </a:solidFill>
              </a:rPr>
            </a:br>
            <a:r>
              <a:rPr lang="en-AU" sz="1400" dirty="0" smtClean="0">
                <a:solidFill>
                  <a:schemeClr val="accent1"/>
                </a:solidFill>
              </a:rPr>
              <a:t>AUGUST 24TH 2012</a:t>
            </a:r>
            <a:r>
              <a:rPr lang="en-AU" sz="1900" dirty="0" smtClean="0"/>
              <a:t> </a:t>
            </a:r>
            <a:r>
              <a:rPr lang="en-AU" sz="3100" dirty="0" smtClean="0"/>
              <a:t>  </a:t>
            </a:r>
            <a:endParaRPr lang="en-AU" sz="31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>
          <a:xfrm>
            <a:off x="613569" y="603233"/>
            <a:ext cx="8024812" cy="468313"/>
          </a:xfrm>
        </p:spPr>
        <p:txBody>
          <a:bodyPr/>
          <a:lstStyle/>
          <a:p>
            <a:pPr lvl="1"/>
            <a:r>
              <a:rPr lang="en-AU" sz="1800" dirty="0" smtClean="0">
                <a:solidFill>
                  <a:schemeClr val="accent1"/>
                </a:solidFill>
              </a:rPr>
              <a:t>ANZ Trade &amp; Supply Chain is a leading commodity and trade finance bank with a strong presence in the Asia-Pacific</a:t>
            </a:r>
            <a:r>
              <a:rPr lang="en-AU" sz="1400" dirty="0" smtClean="0"/>
              <a:t/>
            </a:r>
            <a:br>
              <a:rPr lang="en-AU" sz="1400" dirty="0" smtClean="0"/>
            </a:br>
            <a:endParaRPr lang="en-AU" sz="1400" dirty="0" smtClean="0"/>
          </a:p>
        </p:txBody>
      </p:sp>
      <p:sp>
        <p:nvSpPr>
          <p:cNvPr id="37952" name="Oval 61"/>
          <p:cNvSpPr>
            <a:spLocks noChangeArrowheads="1"/>
          </p:cNvSpPr>
          <p:nvPr/>
        </p:nvSpPr>
        <p:spPr bwMode="auto">
          <a:xfrm>
            <a:off x="1830002" y="6211377"/>
            <a:ext cx="101514" cy="111503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7967" name="Text Box 77"/>
          <p:cNvSpPr txBox="1">
            <a:spLocks noChangeArrowheads="1"/>
          </p:cNvSpPr>
          <p:nvPr/>
        </p:nvSpPr>
        <p:spPr bwMode="auto">
          <a:xfrm>
            <a:off x="-3418782" y="847967"/>
            <a:ext cx="1419783" cy="213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AU" sz="100">
                <a:ea typeface="ＭＳ Ｐゴシック" pitchFamily="-107" charset="-128"/>
              </a:rPr>
              <a:t>*Denotes two way trade flow (2010)</a:t>
            </a:r>
          </a:p>
        </p:txBody>
      </p:sp>
      <p:cxnSp>
        <p:nvCxnSpPr>
          <p:cNvPr id="37972" name="AutoShape 82"/>
          <p:cNvCxnSpPr>
            <a:cxnSpLocks noChangeShapeType="1"/>
          </p:cNvCxnSpPr>
          <p:nvPr/>
        </p:nvCxnSpPr>
        <p:spPr bwMode="auto">
          <a:xfrm rot="16200000" flipV="1">
            <a:off x="-1365992" y="6958570"/>
            <a:ext cx="36928" cy="102759"/>
          </a:xfrm>
          <a:prstGeom prst="curvedConnector3">
            <a:avLst>
              <a:gd name="adj1" fmla="val -332560"/>
            </a:avLst>
          </a:prstGeom>
          <a:noFill/>
          <a:ln w="9525">
            <a:noFill/>
            <a:round/>
            <a:headEnd type="triangle" w="med" len="med"/>
            <a:tailEnd type="triangle" w="med" len="med"/>
          </a:ln>
        </p:spPr>
      </p:cxnSp>
      <p:sp>
        <p:nvSpPr>
          <p:cNvPr id="97" name="Rounded Rectangle 2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0034" y="1357298"/>
            <a:ext cx="8076234" cy="1214446"/>
          </a:xfrm>
          <a:prstGeom prst="roundRect">
            <a:avLst>
              <a:gd name="adj" fmla="val 11144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</p:spPr>
        <p:txBody>
          <a:bodyPr lIns="0" rIns="0" anchor="ctr"/>
          <a:lstStyle/>
          <a:p>
            <a:pPr marL="180975" lvl="1" indent="-180975"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US" sz="1450" dirty="0" smtClean="0"/>
              <a:t>TSC is the face of </a:t>
            </a:r>
            <a:r>
              <a:rPr lang="en-US" sz="1450" dirty="0" err="1" smtClean="0"/>
              <a:t>ANZ’s</a:t>
            </a:r>
            <a:r>
              <a:rPr lang="en-US" sz="1450" dirty="0" smtClean="0"/>
              <a:t> super regional strategy for many clients - providing trade finance and supply chain solutions that manage risk and liquidity.</a:t>
            </a:r>
          </a:p>
          <a:p>
            <a:pPr marL="180975" indent="-180975"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AU" sz="1450" dirty="0" smtClean="0"/>
              <a:t>TSC has a regional network of over 500 trade specialists, utilising a common platform and dedicated processing ‘hubs’ </a:t>
            </a:r>
            <a:r>
              <a:rPr lang="en-US" sz="1450" dirty="0" smtClean="0"/>
              <a:t>with teams on the ground in 28 countries.</a:t>
            </a:r>
          </a:p>
        </p:txBody>
      </p:sp>
      <p:grpSp>
        <p:nvGrpSpPr>
          <p:cNvPr id="2" name="Group 248"/>
          <p:cNvGrpSpPr>
            <a:grpSpLocks/>
          </p:cNvGrpSpPr>
          <p:nvPr/>
        </p:nvGrpSpPr>
        <p:grpSpPr bwMode="auto">
          <a:xfrm>
            <a:off x="5207000" y="2786058"/>
            <a:ext cx="2987675" cy="3494088"/>
            <a:chOff x="601663" y="2682875"/>
            <a:chExt cx="2987675" cy="3494088"/>
          </a:xfrm>
        </p:grpSpPr>
        <p:sp>
          <p:nvSpPr>
            <p:cNvPr id="105" name="Freeform 194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2525713" y="2693988"/>
              <a:ext cx="1063625" cy="963612"/>
            </a:xfrm>
            <a:custGeom>
              <a:avLst/>
              <a:gdLst>
                <a:gd name="T0" fmla="*/ 2147483647 w 777"/>
                <a:gd name="T1" fmla="*/ 2147483647 h 791"/>
                <a:gd name="T2" fmla="*/ 2147483647 w 777"/>
                <a:gd name="T3" fmla="*/ 2147483647 h 791"/>
                <a:gd name="T4" fmla="*/ 2147483647 w 777"/>
                <a:gd name="T5" fmla="*/ 2147483647 h 791"/>
                <a:gd name="T6" fmla="*/ 2147483647 w 777"/>
                <a:gd name="T7" fmla="*/ 2147483647 h 791"/>
                <a:gd name="T8" fmla="*/ 2147483647 w 777"/>
                <a:gd name="T9" fmla="*/ 2147483647 h 791"/>
                <a:gd name="T10" fmla="*/ 2147483647 w 777"/>
                <a:gd name="T11" fmla="*/ 2147483647 h 791"/>
                <a:gd name="T12" fmla="*/ 2147483647 w 777"/>
                <a:gd name="T13" fmla="*/ 2147483647 h 791"/>
                <a:gd name="T14" fmla="*/ 2147483647 w 777"/>
                <a:gd name="T15" fmla="*/ 2147483647 h 791"/>
                <a:gd name="T16" fmla="*/ 2147483647 w 777"/>
                <a:gd name="T17" fmla="*/ 2147483647 h 791"/>
                <a:gd name="T18" fmla="*/ 2147483647 w 777"/>
                <a:gd name="T19" fmla="*/ 2147483647 h 791"/>
                <a:gd name="T20" fmla="*/ 2147483647 w 777"/>
                <a:gd name="T21" fmla="*/ 2147483647 h 791"/>
                <a:gd name="T22" fmla="*/ 2147483647 w 777"/>
                <a:gd name="T23" fmla="*/ 2147483647 h 791"/>
                <a:gd name="T24" fmla="*/ 2147483647 w 777"/>
                <a:gd name="T25" fmla="*/ 2147483647 h 791"/>
                <a:gd name="T26" fmla="*/ 2147483647 w 777"/>
                <a:gd name="T27" fmla="*/ 2147483647 h 791"/>
                <a:gd name="T28" fmla="*/ 2147483647 w 777"/>
                <a:gd name="T29" fmla="*/ 2147483647 h 791"/>
                <a:gd name="T30" fmla="*/ 2147483647 w 777"/>
                <a:gd name="T31" fmla="*/ 2147483647 h 791"/>
                <a:gd name="T32" fmla="*/ 2147483647 w 777"/>
                <a:gd name="T33" fmla="*/ 2147483647 h 791"/>
                <a:gd name="T34" fmla="*/ 2147483647 w 777"/>
                <a:gd name="T35" fmla="*/ 2147483647 h 791"/>
                <a:gd name="T36" fmla="*/ 2147483647 w 777"/>
                <a:gd name="T37" fmla="*/ 2147483647 h 791"/>
                <a:gd name="T38" fmla="*/ 2147483647 w 777"/>
                <a:gd name="T39" fmla="*/ 2147483647 h 791"/>
                <a:gd name="T40" fmla="*/ 2147483647 w 777"/>
                <a:gd name="T41" fmla="*/ 2147483647 h 791"/>
                <a:gd name="T42" fmla="*/ 2147483647 w 777"/>
                <a:gd name="T43" fmla="*/ 2147483647 h 791"/>
                <a:gd name="T44" fmla="*/ 2147483647 w 777"/>
                <a:gd name="T45" fmla="*/ 2147483647 h 791"/>
                <a:gd name="T46" fmla="*/ 2147483647 w 777"/>
                <a:gd name="T47" fmla="*/ 2147483647 h 791"/>
                <a:gd name="T48" fmla="*/ 2147483647 w 777"/>
                <a:gd name="T49" fmla="*/ 2147483647 h 791"/>
                <a:gd name="T50" fmla="*/ 2147483647 w 777"/>
                <a:gd name="T51" fmla="*/ 2147483647 h 791"/>
                <a:gd name="T52" fmla="*/ 2147483647 w 777"/>
                <a:gd name="T53" fmla="*/ 2147483647 h 791"/>
                <a:gd name="T54" fmla="*/ 2147483647 w 777"/>
                <a:gd name="T55" fmla="*/ 2147483647 h 791"/>
                <a:gd name="T56" fmla="*/ 2147483647 w 777"/>
                <a:gd name="T57" fmla="*/ 2147483647 h 791"/>
                <a:gd name="T58" fmla="*/ 2147483647 w 777"/>
                <a:gd name="T59" fmla="*/ 2147483647 h 791"/>
                <a:gd name="T60" fmla="*/ 2147483647 w 777"/>
                <a:gd name="T61" fmla="*/ 2147483647 h 791"/>
                <a:gd name="T62" fmla="*/ 2147483647 w 777"/>
                <a:gd name="T63" fmla="*/ 2147483647 h 791"/>
                <a:gd name="T64" fmla="*/ 2147483647 w 777"/>
                <a:gd name="T65" fmla="*/ 2147483647 h 791"/>
                <a:gd name="T66" fmla="*/ 2147483647 w 777"/>
                <a:gd name="T67" fmla="*/ 2147483647 h 791"/>
                <a:gd name="T68" fmla="*/ 2147483647 w 777"/>
                <a:gd name="T69" fmla="*/ 2147483647 h 791"/>
                <a:gd name="T70" fmla="*/ 2147483647 w 777"/>
                <a:gd name="T71" fmla="*/ 2147483647 h 791"/>
                <a:gd name="T72" fmla="*/ 2147483647 w 777"/>
                <a:gd name="T73" fmla="*/ 2147483647 h 791"/>
                <a:gd name="T74" fmla="*/ 2147483647 w 777"/>
                <a:gd name="T75" fmla="*/ 2147483647 h 791"/>
                <a:gd name="T76" fmla="*/ 2147483647 w 777"/>
                <a:gd name="T77" fmla="*/ 2147483647 h 791"/>
                <a:gd name="T78" fmla="*/ 2147483647 w 777"/>
                <a:gd name="T79" fmla="*/ 2147483647 h 791"/>
                <a:gd name="T80" fmla="*/ 2147483647 w 777"/>
                <a:gd name="T81" fmla="*/ 2147483647 h 791"/>
                <a:gd name="T82" fmla="*/ 2147483647 w 777"/>
                <a:gd name="T83" fmla="*/ 2147483647 h 791"/>
                <a:gd name="T84" fmla="*/ 2147483647 w 777"/>
                <a:gd name="T85" fmla="*/ 2147483647 h 791"/>
                <a:gd name="T86" fmla="*/ 2147483647 w 777"/>
                <a:gd name="T87" fmla="*/ 2147483647 h 791"/>
                <a:gd name="T88" fmla="*/ 2147483647 w 777"/>
                <a:gd name="T89" fmla="*/ 2147483647 h 791"/>
                <a:gd name="T90" fmla="*/ 2147483647 w 777"/>
                <a:gd name="T91" fmla="*/ 2147483647 h 791"/>
                <a:gd name="T92" fmla="*/ 2147483647 w 777"/>
                <a:gd name="T93" fmla="*/ 2147483647 h 791"/>
                <a:gd name="T94" fmla="*/ 2147483647 w 777"/>
                <a:gd name="T95" fmla="*/ 2147483647 h 791"/>
                <a:gd name="T96" fmla="*/ 2147483647 w 777"/>
                <a:gd name="T97" fmla="*/ 2147483647 h 791"/>
                <a:gd name="T98" fmla="*/ 2147483647 w 777"/>
                <a:gd name="T99" fmla="*/ 0 h 791"/>
                <a:gd name="T100" fmla="*/ 2147483647 w 777"/>
                <a:gd name="T101" fmla="*/ 2147483647 h 791"/>
                <a:gd name="T102" fmla="*/ 2147483647 w 777"/>
                <a:gd name="T103" fmla="*/ 2147483647 h 791"/>
                <a:gd name="T104" fmla="*/ 2147483647 w 777"/>
                <a:gd name="T105" fmla="*/ 2147483647 h 79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77"/>
                <a:gd name="T160" fmla="*/ 0 h 791"/>
                <a:gd name="T161" fmla="*/ 777 w 777"/>
                <a:gd name="T162" fmla="*/ 791 h 79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77" h="791">
                  <a:moveTo>
                    <a:pt x="0" y="0"/>
                  </a:moveTo>
                  <a:lnTo>
                    <a:pt x="5" y="4"/>
                  </a:lnTo>
                  <a:lnTo>
                    <a:pt x="36" y="9"/>
                  </a:lnTo>
                  <a:lnTo>
                    <a:pt x="31" y="18"/>
                  </a:lnTo>
                  <a:lnTo>
                    <a:pt x="36" y="31"/>
                  </a:lnTo>
                  <a:lnTo>
                    <a:pt x="54" y="36"/>
                  </a:lnTo>
                  <a:lnTo>
                    <a:pt x="81" y="31"/>
                  </a:lnTo>
                  <a:lnTo>
                    <a:pt x="94" y="40"/>
                  </a:lnTo>
                  <a:lnTo>
                    <a:pt x="58" y="40"/>
                  </a:lnTo>
                  <a:lnTo>
                    <a:pt x="49" y="49"/>
                  </a:lnTo>
                  <a:lnTo>
                    <a:pt x="31" y="45"/>
                  </a:lnTo>
                  <a:lnTo>
                    <a:pt x="27" y="62"/>
                  </a:lnTo>
                  <a:lnTo>
                    <a:pt x="63" y="71"/>
                  </a:lnTo>
                  <a:lnTo>
                    <a:pt x="45" y="85"/>
                  </a:lnTo>
                  <a:lnTo>
                    <a:pt x="58" y="112"/>
                  </a:lnTo>
                  <a:lnTo>
                    <a:pt x="85" y="125"/>
                  </a:lnTo>
                  <a:lnTo>
                    <a:pt x="85" y="107"/>
                  </a:lnTo>
                  <a:lnTo>
                    <a:pt x="103" y="112"/>
                  </a:lnTo>
                  <a:lnTo>
                    <a:pt x="107" y="121"/>
                  </a:lnTo>
                  <a:lnTo>
                    <a:pt x="125" y="116"/>
                  </a:lnTo>
                  <a:lnTo>
                    <a:pt x="130" y="130"/>
                  </a:lnTo>
                  <a:lnTo>
                    <a:pt x="139" y="116"/>
                  </a:lnTo>
                  <a:lnTo>
                    <a:pt x="170" y="121"/>
                  </a:lnTo>
                  <a:lnTo>
                    <a:pt x="206" y="138"/>
                  </a:lnTo>
                  <a:lnTo>
                    <a:pt x="206" y="179"/>
                  </a:lnTo>
                  <a:lnTo>
                    <a:pt x="228" y="210"/>
                  </a:lnTo>
                  <a:lnTo>
                    <a:pt x="241" y="308"/>
                  </a:lnTo>
                  <a:lnTo>
                    <a:pt x="241" y="326"/>
                  </a:lnTo>
                  <a:lnTo>
                    <a:pt x="237" y="353"/>
                  </a:lnTo>
                  <a:lnTo>
                    <a:pt x="255" y="366"/>
                  </a:lnTo>
                  <a:lnTo>
                    <a:pt x="273" y="344"/>
                  </a:lnTo>
                  <a:lnTo>
                    <a:pt x="282" y="371"/>
                  </a:lnTo>
                  <a:lnTo>
                    <a:pt x="308" y="393"/>
                  </a:lnTo>
                  <a:lnTo>
                    <a:pt x="299" y="411"/>
                  </a:lnTo>
                  <a:lnTo>
                    <a:pt x="264" y="398"/>
                  </a:lnTo>
                  <a:lnTo>
                    <a:pt x="255" y="402"/>
                  </a:lnTo>
                  <a:lnTo>
                    <a:pt x="268" y="416"/>
                  </a:lnTo>
                  <a:lnTo>
                    <a:pt x="308" y="438"/>
                  </a:lnTo>
                  <a:lnTo>
                    <a:pt x="308" y="487"/>
                  </a:lnTo>
                  <a:lnTo>
                    <a:pt x="282" y="483"/>
                  </a:lnTo>
                  <a:lnTo>
                    <a:pt x="268" y="500"/>
                  </a:lnTo>
                  <a:lnTo>
                    <a:pt x="277" y="509"/>
                  </a:lnTo>
                  <a:lnTo>
                    <a:pt x="268" y="523"/>
                  </a:lnTo>
                  <a:lnTo>
                    <a:pt x="268" y="576"/>
                  </a:lnTo>
                  <a:lnTo>
                    <a:pt x="273" y="590"/>
                  </a:lnTo>
                  <a:lnTo>
                    <a:pt x="286" y="608"/>
                  </a:lnTo>
                  <a:lnTo>
                    <a:pt x="295" y="652"/>
                  </a:lnTo>
                  <a:lnTo>
                    <a:pt x="299" y="643"/>
                  </a:lnTo>
                  <a:lnTo>
                    <a:pt x="304" y="648"/>
                  </a:lnTo>
                  <a:lnTo>
                    <a:pt x="295" y="661"/>
                  </a:lnTo>
                  <a:lnTo>
                    <a:pt x="308" y="684"/>
                  </a:lnTo>
                  <a:lnTo>
                    <a:pt x="326" y="719"/>
                  </a:lnTo>
                  <a:lnTo>
                    <a:pt x="335" y="728"/>
                  </a:lnTo>
                  <a:lnTo>
                    <a:pt x="331" y="733"/>
                  </a:lnTo>
                  <a:lnTo>
                    <a:pt x="340" y="746"/>
                  </a:lnTo>
                  <a:lnTo>
                    <a:pt x="349" y="760"/>
                  </a:lnTo>
                  <a:lnTo>
                    <a:pt x="362" y="751"/>
                  </a:lnTo>
                  <a:lnTo>
                    <a:pt x="375" y="751"/>
                  </a:lnTo>
                  <a:lnTo>
                    <a:pt x="384" y="760"/>
                  </a:lnTo>
                  <a:lnTo>
                    <a:pt x="393" y="769"/>
                  </a:lnTo>
                  <a:lnTo>
                    <a:pt x="389" y="777"/>
                  </a:lnTo>
                  <a:lnTo>
                    <a:pt x="411" y="791"/>
                  </a:lnTo>
                  <a:lnTo>
                    <a:pt x="420" y="777"/>
                  </a:lnTo>
                  <a:lnTo>
                    <a:pt x="416" y="769"/>
                  </a:lnTo>
                  <a:lnTo>
                    <a:pt x="425" y="760"/>
                  </a:lnTo>
                  <a:lnTo>
                    <a:pt x="420" y="755"/>
                  </a:lnTo>
                  <a:lnTo>
                    <a:pt x="442" y="728"/>
                  </a:lnTo>
                  <a:lnTo>
                    <a:pt x="438" y="719"/>
                  </a:lnTo>
                  <a:lnTo>
                    <a:pt x="433" y="715"/>
                  </a:lnTo>
                  <a:lnTo>
                    <a:pt x="433" y="697"/>
                  </a:lnTo>
                  <a:lnTo>
                    <a:pt x="442" y="693"/>
                  </a:lnTo>
                  <a:lnTo>
                    <a:pt x="447" y="675"/>
                  </a:lnTo>
                  <a:lnTo>
                    <a:pt x="456" y="666"/>
                  </a:lnTo>
                  <a:lnTo>
                    <a:pt x="460" y="639"/>
                  </a:lnTo>
                  <a:lnTo>
                    <a:pt x="451" y="626"/>
                  </a:lnTo>
                  <a:lnTo>
                    <a:pt x="469" y="621"/>
                  </a:lnTo>
                  <a:lnTo>
                    <a:pt x="469" y="612"/>
                  </a:lnTo>
                  <a:lnTo>
                    <a:pt x="501" y="608"/>
                  </a:lnTo>
                  <a:lnTo>
                    <a:pt x="505" y="594"/>
                  </a:lnTo>
                  <a:lnTo>
                    <a:pt x="514" y="594"/>
                  </a:lnTo>
                  <a:lnTo>
                    <a:pt x="545" y="576"/>
                  </a:lnTo>
                  <a:lnTo>
                    <a:pt x="545" y="567"/>
                  </a:lnTo>
                  <a:lnTo>
                    <a:pt x="554" y="567"/>
                  </a:lnTo>
                  <a:lnTo>
                    <a:pt x="568" y="518"/>
                  </a:lnTo>
                  <a:lnTo>
                    <a:pt x="581" y="509"/>
                  </a:lnTo>
                  <a:lnTo>
                    <a:pt x="576" y="491"/>
                  </a:lnTo>
                  <a:lnTo>
                    <a:pt x="585" y="500"/>
                  </a:lnTo>
                  <a:lnTo>
                    <a:pt x="585" y="509"/>
                  </a:lnTo>
                  <a:lnTo>
                    <a:pt x="612" y="505"/>
                  </a:lnTo>
                  <a:lnTo>
                    <a:pt x="657" y="483"/>
                  </a:lnTo>
                  <a:lnTo>
                    <a:pt x="702" y="451"/>
                  </a:lnTo>
                  <a:lnTo>
                    <a:pt x="719" y="429"/>
                  </a:lnTo>
                  <a:lnTo>
                    <a:pt x="719" y="424"/>
                  </a:lnTo>
                  <a:lnTo>
                    <a:pt x="710" y="429"/>
                  </a:lnTo>
                  <a:lnTo>
                    <a:pt x="684" y="420"/>
                  </a:lnTo>
                  <a:lnTo>
                    <a:pt x="666" y="424"/>
                  </a:lnTo>
                  <a:lnTo>
                    <a:pt x="657" y="407"/>
                  </a:lnTo>
                  <a:lnTo>
                    <a:pt x="679" y="398"/>
                  </a:lnTo>
                  <a:lnTo>
                    <a:pt x="670" y="384"/>
                  </a:lnTo>
                  <a:lnTo>
                    <a:pt x="679" y="371"/>
                  </a:lnTo>
                  <a:lnTo>
                    <a:pt x="670" y="362"/>
                  </a:lnTo>
                  <a:lnTo>
                    <a:pt x="675" y="362"/>
                  </a:lnTo>
                  <a:lnTo>
                    <a:pt x="693" y="375"/>
                  </a:lnTo>
                  <a:lnTo>
                    <a:pt x="697" y="407"/>
                  </a:lnTo>
                  <a:lnTo>
                    <a:pt x="733" y="416"/>
                  </a:lnTo>
                  <a:lnTo>
                    <a:pt x="728" y="366"/>
                  </a:lnTo>
                  <a:lnTo>
                    <a:pt x="719" y="371"/>
                  </a:lnTo>
                  <a:lnTo>
                    <a:pt x="728" y="353"/>
                  </a:lnTo>
                  <a:lnTo>
                    <a:pt x="710" y="348"/>
                  </a:lnTo>
                  <a:lnTo>
                    <a:pt x="715" y="340"/>
                  </a:lnTo>
                  <a:lnTo>
                    <a:pt x="684" y="326"/>
                  </a:lnTo>
                  <a:lnTo>
                    <a:pt x="688" y="317"/>
                  </a:lnTo>
                  <a:lnTo>
                    <a:pt x="719" y="331"/>
                  </a:lnTo>
                  <a:lnTo>
                    <a:pt x="724" y="317"/>
                  </a:lnTo>
                  <a:lnTo>
                    <a:pt x="706" y="304"/>
                  </a:lnTo>
                  <a:lnTo>
                    <a:pt x="724" y="304"/>
                  </a:lnTo>
                  <a:lnTo>
                    <a:pt x="724" y="290"/>
                  </a:lnTo>
                  <a:lnTo>
                    <a:pt x="710" y="281"/>
                  </a:lnTo>
                  <a:lnTo>
                    <a:pt x="684" y="268"/>
                  </a:lnTo>
                  <a:lnTo>
                    <a:pt x="693" y="259"/>
                  </a:lnTo>
                  <a:lnTo>
                    <a:pt x="719" y="277"/>
                  </a:lnTo>
                  <a:lnTo>
                    <a:pt x="733" y="259"/>
                  </a:lnTo>
                  <a:lnTo>
                    <a:pt x="746" y="264"/>
                  </a:lnTo>
                  <a:lnTo>
                    <a:pt x="746" y="241"/>
                  </a:lnTo>
                  <a:lnTo>
                    <a:pt x="733" y="237"/>
                  </a:lnTo>
                  <a:lnTo>
                    <a:pt x="719" y="241"/>
                  </a:lnTo>
                  <a:lnTo>
                    <a:pt x="728" y="228"/>
                  </a:lnTo>
                  <a:lnTo>
                    <a:pt x="742" y="232"/>
                  </a:lnTo>
                  <a:lnTo>
                    <a:pt x="755" y="223"/>
                  </a:lnTo>
                  <a:lnTo>
                    <a:pt x="764" y="205"/>
                  </a:lnTo>
                  <a:lnTo>
                    <a:pt x="742" y="179"/>
                  </a:lnTo>
                  <a:lnTo>
                    <a:pt x="742" y="165"/>
                  </a:lnTo>
                  <a:lnTo>
                    <a:pt x="751" y="165"/>
                  </a:lnTo>
                  <a:lnTo>
                    <a:pt x="755" y="179"/>
                  </a:lnTo>
                  <a:lnTo>
                    <a:pt x="760" y="174"/>
                  </a:lnTo>
                  <a:lnTo>
                    <a:pt x="764" y="152"/>
                  </a:lnTo>
                  <a:lnTo>
                    <a:pt x="760" y="134"/>
                  </a:lnTo>
                  <a:lnTo>
                    <a:pt x="751" y="130"/>
                  </a:lnTo>
                  <a:lnTo>
                    <a:pt x="760" y="125"/>
                  </a:lnTo>
                  <a:lnTo>
                    <a:pt x="760" y="107"/>
                  </a:lnTo>
                  <a:lnTo>
                    <a:pt x="733" y="107"/>
                  </a:lnTo>
                  <a:lnTo>
                    <a:pt x="733" y="67"/>
                  </a:lnTo>
                  <a:lnTo>
                    <a:pt x="746" y="49"/>
                  </a:lnTo>
                  <a:lnTo>
                    <a:pt x="777" y="58"/>
                  </a:lnTo>
                  <a:lnTo>
                    <a:pt x="777" y="36"/>
                  </a:lnTo>
                  <a:lnTo>
                    <a:pt x="751" y="27"/>
                  </a:lnTo>
                  <a:lnTo>
                    <a:pt x="751" y="4"/>
                  </a:lnTo>
                  <a:lnTo>
                    <a:pt x="764" y="13"/>
                  </a:lnTo>
                  <a:lnTo>
                    <a:pt x="773" y="9"/>
                  </a:lnTo>
                  <a:lnTo>
                    <a:pt x="755" y="0"/>
                  </a:lnTo>
                  <a:lnTo>
                    <a:pt x="0" y="0"/>
                  </a:lnTo>
                  <a:close/>
                  <a:moveTo>
                    <a:pt x="264" y="420"/>
                  </a:moveTo>
                  <a:lnTo>
                    <a:pt x="255" y="424"/>
                  </a:lnTo>
                  <a:lnTo>
                    <a:pt x="255" y="447"/>
                  </a:lnTo>
                  <a:lnTo>
                    <a:pt x="264" y="451"/>
                  </a:lnTo>
                  <a:lnTo>
                    <a:pt x="273" y="460"/>
                  </a:lnTo>
                  <a:lnTo>
                    <a:pt x="291" y="451"/>
                  </a:lnTo>
                  <a:lnTo>
                    <a:pt x="295" y="438"/>
                  </a:lnTo>
                  <a:lnTo>
                    <a:pt x="286" y="433"/>
                  </a:lnTo>
                  <a:lnTo>
                    <a:pt x="277" y="424"/>
                  </a:lnTo>
                  <a:lnTo>
                    <a:pt x="264" y="42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6" name="Freeform 260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601663" y="3108325"/>
              <a:ext cx="2017712" cy="1528763"/>
            </a:xfrm>
            <a:custGeom>
              <a:avLst/>
              <a:gdLst>
                <a:gd name="T0" fmla="*/ 2147483647 w 1474"/>
                <a:gd name="T1" fmla="*/ 2147483647 h 1256"/>
                <a:gd name="T2" fmla="*/ 2147483647 w 1474"/>
                <a:gd name="T3" fmla="*/ 2147483647 h 1256"/>
                <a:gd name="T4" fmla="*/ 2147483647 w 1474"/>
                <a:gd name="T5" fmla="*/ 2147483647 h 1256"/>
                <a:gd name="T6" fmla="*/ 2147483647 w 1474"/>
                <a:gd name="T7" fmla="*/ 2147483647 h 1256"/>
                <a:gd name="T8" fmla="*/ 2147483647 w 1474"/>
                <a:gd name="T9" fmla="*/ 2147483647 h 1256"/>
                <a:gd name="T10" fmla="*/ 2147483647 w 1474"/>
                <a:gd name="T11" fmla="*/ 2147483647 h 1256"/>
                <a:gd name="T12" fmla="*/ 2147483647 w 1474"/>
                <a:gd name="T13" fmla="*/ 2147483647 h 1256"/>
                <a:gd name="T14" fmla="*/ 2147483647 w 1474"/>
                <a:gd name="T15" fmla="*/ 2147483647 h 1256"/>
                <a:gd name="T16" fmla="*/ 2147483647 w 1474"/>
                <a:gd name="T17" fmla="*/ 2147483647 h 1256"/>
                <a:gd name="T18" fmla="*/ 2147483647 w 1474"/>
                <a:gd name="T19" fmla="*/ 2147483647 h 1256"/>
                <a:gd name="T20" fmla="*/ 2147483647 w 1474"/>
                <a:gd name="T21" fmla="*/ 2147483647 h 1256"/>
                <a:gd name="T22" fmla="*/ 2147483647 w 1474"/>
                <a:gd name="T23" fmla="*/ 2147483647 h 1256"/>
                <a:gd name="T24" fmla="*/ 2147483647 w 1474"/>
                <a:gd name="T25" fmla="*/ 2147483647 h 1256"/>
                <a:gd name="T26" fmla="*/ 2147483647 w 1474"/>
                <a:gd name="T27" fmla="*/ 2147483647 h 1256"/>
                <a:gd name="T28" fmla="*/ 2147483647 w 1474"/>
                <a:gd name="T29" fmla="*/ 2147483647 h 1256"/>
                <a:gd name="T30" fmla="*/ 2147483647 w 1474"/>
                <a:gd name="T31" fmla="*/ 2147483647 h 1256"/>
                <a:gd name="T32" fmla="*/ 2147483647 w 1474"/>
                <a:gd name="T33" fmla="*/ 2147483647 h 1256"/>
                <a:gd name="T34" fmla="*/ 2147483647 w 1474"/>
                <a:gd name="T35" fmla="*/ 2147483647 h 1256"/>
                <a:gd name="T36" fmla="*/ 2147483647 w 1474"/>
                <a:gd name="T37" fmla="*/ 2147483647 h 1256"/>
                <a:gd name="T38" fmla="*/ 2147483647 w 1474"/>
                <a:gd name="T39" fmla="*/ 2147483647 h 1256"/>
                <a:gd name="T40" fmla="*/ 2147483647 w 1474"/>
                <a:gd name="T41" fmla="*/ 2147483647 h 1256"/>
                <a:gd name="T42" fmla="*/ 2147483647 w 1474"/>
                <a:gd name="T43" fmla="*/ 2147483647 h 1256"/>
                <a:gd name="T44" fmla="*/ 2147483647 w 1474"/>
                <a:gd name="T45" fmla="*/ 2147483647 h 1256"/>
                <a:gd name="T46" fmla="*/ 2147483647 w 1474"/>
                <a:gd name="T47" fmla="*/ 2147483647 h 1256"/>
                <a:gd name="T48" fmla="*/ 2147483647 w 1474"/>
                <a:gd name="T49" fmla="*/ 2147483647 h 1256"/>
                <a:gd name="T50" fmla="*/ 2147483647 w 1474"/>
                <a:gd name="T51" fmla="*/ 2147483647 h 1256"/>
                <a:gd name="T52" fmla="*/ 2147483647 w 1474"/>
                <a:gd name="T53" fmla="*/ 2147483647 h 1256"/>
                <a:gd name="T54" fmla="*/ 2147483647 w 1474"/>
                <a:gd name="T55" fmla="*/ 2147483647 h 1256"/>
                <a:gd name="T56" fmla="*/ 2147483647 w 1474"/>
                <a:gd name="T57" fmla="*/ 2147483647 h 1256"/>
                <a:gd name="T58" fmla="*/ 2147483647 w 1474"/>
                <a:gd name="T59" fmla="*/ 2147483647 h 1256"/>
                <a:gd name="T60" fmla="*/ 2147483647 w 1474"/>
                <a:gd name="T61" fmla="*/ 2147483647 h 1256"/>
                <a:gd name="T62" fmla="*/ 2147483647 w 1474"/>
                <a:gd name="T63" fmla="*/ 2147483647 h 1256"/>
                <a:gd name="T64" fmla="*/ 2147483647 w 1474"/>
                <a:gd name="T65" fmla="*/ 2147483647 h 1256"/>
                <a:gd name="T66" fmla="*/ 2147483647 w 1474"/>
                <a:gd name="T67" fmla="*/ 2147483647 h 1256"/>
                <a:gd name="T68" fmla="*/ 2147483647 w 1474"/>
                <a:gd name="T69" fmla="*/ 2147483647 h 1256"/>
                <a:gd name="T70" fmla="*/ 2147483647 w 1474"/>
                <a:gd name="T71" fmla="*/ 2147483647 h 1256"/>
                <a:gd name="T72" fmla="*/ 2147483647 w 1474"/>
                <a:gd name="T73" fmla="*/ 2147483647 h 1256"/>
                <a:gd name="T74" fmla="*/ 2147483647 w 1474"/>
                <a:gd name="T75" fmla="*/ 2147483647 h 1256"/>
                <a:gd name="T76" fmla="*/ 2147483647 w 1474"/>
                <a:gd name="T77" fmla="*/ 2147483647 h 1256"/>
                <a:gd name="T78" fmla="*/ 2147483647 w 1474"/>
                <a:gd name="T79" fmla="*/ 2147483647 h 1256"/>
                <a:gd name="T80" fmla="*/ 2147483647 w 1474"/>
                <a:gd name="T81" fmla="*/ 2147483647 h 1256"/>
                <a:gd name="T82" fmla="*/ 2147483647 w 1474"/>
                <a:gd name="T83" fmla="*/ 2147483647 h 1256"/>
                <a:gd name="T84" fmla="*/ 2147483647 w 1474"/>
                <a:gd name="T85" fmla="*/ 2147483647 h 1256"/>
                <a:gd name="T86" fmla="*/ 2147483647 w 1474"/>
                <a:gd name="T87" fmla="*/ 2147483647 h 1256"/>
                <a:gd name="T88" fmla="*/ 2147483647 w 1474"/>
                <a:gd name="T89" fmla="*/ 2147483647 h 1256"/>
                <a:gd name="T90" fmla="*/ 2147483647 w 1474"/>
                <a:gd name="T91" fmla="*/ 2147483647 h 1256"/>
                <a:gd name="T92" fmla="*/ 2147483647 w 1474"/>
                <a:gd name="T93" fmla="*/ 2147483647 h 1256"/>
                <a:gd name="T94" fmla="*/ 2147483647 w 1474"/>
                <a:gd name="T95" fmla="*/ 2147483647 h 1256"/>
                <a:gd name="T96" fmla="*/ 2147483647 w 1474"/>
                <a:gd name="T97" fmla="*/ 2147483647 h 1256"/>
                <a:gd name="T98" fmla="*/ 2147483647 w 1474"/>
                <a:gd name="T99" fmla="*/ 2147483647 h 1256"/>
                <a:gd name="T100" fmla="*/ 2147483647 w 1474"/>
                <a:gd name="T101" fmla="*/ 2147483647 h 1256"/>
                <a:gd name="T102" fmla="*/ 2147483647 w 1474"/>
                <a:gd name="T103" fmla="*/ 2147483647 h 1256"/>
                <a:gd name="T104" fmla="*/ 2147483647 w 1474"/>
                <a:gd name="T105" fmla="*/ 2147483647 h 1256"/>
                <a:gd name="T106" fmla="*/ 2147483647 w 1474"/>
                <a:gd name="T107" fmla="*/ 2147483647 h 1256"/>
                <a:gd name="T108" fmla="*/ 2147483647 w 1474"/>
                <a:gd name="T109" fmla="*/ 2147483647 h 1256"/>
                <a:gd name="T110" fmla="*/ 2147483647 w 1474"/>
                <a:gd name="T111" fmla="*/ 2147483647 h 1256"/>
                <a:gd name="T112" fmla="*/ 2147483647 w 1474"/>
                <a:gd name="T113" fmla="*/ 2147483647 h 12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474"/>
                <a:gd name="T172" fmla="*/ 0 h 1256"/>
                <a:gd name="T173" fmla="*/ 1474 w 1474"/>
                <a:gd name="T174" fmla="*/ 1256 h 12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474" h="1256">
                  <a:moveTo>
                    <a:pt x="13" y="603"/>
                  </a:moveTo>
                  <a:lnTo>
                    <a:pt x="8" y="608"/>
                  </a:lnTo>
                  <a:lnTo>
                    <a:pt x="8" y="612"/>
                  </a:lnTo>
                  <a:lnTo>
                    <a:pt x="4" y="617"/>
                  </a:lnTo>
                  <a:lnTo>
                    <a:pt x="0" y="626"/>
                  </a:lnTo>
                  <a:lnTo>
                    <a:pt x="8" y="621"/>
                  </a:lnTo>
                  <a:lnTo>
                    <a:pt x="22" y="608"/>
                  </a:lnTo>
                  <a:lnTo>
                    <a:pt x="13" y="603"/>
                  </a:lnTo>
                  <a:close/>
                  <a:moveTo>
                    <a:pt x="26" y="425"/>
                  </a:moveTo>
                  <a:lnTo>
                    <a:pt x="26" y="429"/>
                  </a:lnTo>
                  <a:lnTo>
                    <a:pt x="40" y="442"/>
                  </a:lnTo>
                  <a:lnTo>
                    <a:pt x="49" y="438"/>
                  </a:lnTo>
                  <a:lnTo>
                    <a:pt x="49" y="429"/>
                  </a:lnTo>
                  <a:lnTo>
                    <a:pt x="44" y="420"/>
                  </a:lnTo>
                  <a:lnTo>
                    <a:pt x="40" y="420"/>
                  </a:lnTo>
                  <a:lnTo>
                    <a:pt x="35" y="425"/>
                  </a:lnTo>
                  <a:lnTo>
                    <a:pt x="26" y="425"/>
                  </a:lnTo>
                  <a:close/>
                  <a:moveTo>
                    <a:pt x="35" y="594"/>
                  </a:moveTo>
                  <a:lnTo>
                    <a:pt x="31" y="599"/>
                  </a:lnTo>
                  <a:lnTo>
                    <a:pt x="35" y="603"/>
                  </a:lnTo>
                  <a:lnTo>
                    <a:pt x="17" y="612"/>
                  </a:lnTo>
                  <a:lnTo>
                    <a:pt x="22" y="617"/>
                  </a:lnTo>
                  <a:lnTo>
                    <a:pt x="40" y="608"/>
                  </a:lnTo>
                  <a:lnTo>
                    <a:pt x="49" y="603"/>
                  </a:lnTo>
                  <a:lnTo>
                    <a:pt x="49" y="599"/>
                  </a:lnTo>
                  <a:lnTo>
                    <a:pt x="58" y="590"/>
                  </a:lnTo>
                  <a:lnTo>
                    <a:pt x="49" y="590"/>
                  </a:lnTo>
                  <a:lnTo>
                    <a:pt x="44" y="594"/>
                  </a:lnTo>
                  <a:lnTo>
                    <a:pt x="35" y="594"/>
                  </a:lnTo>
                  <a:close/>
                  <a:moveTo>
                    <a:pt x="129" y="232"/>
                  </a:moveTo>
                  <a:lnTo>
                    <a:pt x="116" y="223"/>
                  </a:lnTo>
                  <a:lnTo>
                    <a:pt x="111" y="223"/>
                  </a:lnTo>
                  <a:lnTo>
                    <a:pt x="98" y="201"/>
                  </a:lnTo>
                  <a:lnTo>
                    <a:pt x="93" y="206"/>
                  </a:lnTo>
                  <a:lnTo>
                    <a:pt x="107" y="232"/>
                  </a:lnTo>
                  <a:lnTo>
                    <a:pt x="111" y="228"/>
                  </a:lnTo>
                  <a:lnTo>
                    <a:pt x="120" y="241"/>
                  </a:lnTo>
                  <a:lnTo>
                    <a:pt x="84" y="241"/>
                  </a:lnTo>
                  <a:lnTo>
                    <a:pt x="80" y="223"/>
                  </a:lnTo>
                  <a:lnTo>
                    <a:pt x="62" y="223"/>
                  </a:lnTo>
                  <a:lnTo>
                    <a:pt x="49" y="232"/>
                  </a:lnTo>
                  <a:lnTo>
                    <a:pt x="53" y="237"/>
                  </a:lnTo>
                  <a:lnTo>
                    <a:pt x="40" y="241"/>
                  </a:lnTo>
                  <a:lnTo>
                    <a:pt x="44" y="232"/>
                  </a:lnTo>
                  <a:lnTo>
                    <a:pt x="40" y="232"/>
                  </a:lnTo>
                  <a:lnTo>
                    <a:pt x="13" y="255"/>
                  </a:lnTo>
                  <a:lnTo>
                    <a:pt x="22" y="264"/>
                  </a:lnTo>
                  <a:lnTo>
                    <a:pt x="49" y="268"/>
                  </a:lnTo>
                  <a:lnTo>
                    <a:pt x="35" y="277"/>
                  </a:lnTo>
                  <a:lnTo>
                    <a:pt x="49" y="299"/>
                  </a:lnTo>
                  <a:lnTo>
                    <a:pt x="93" y="304"/>
                  </a:lnTo>
                  <a:lnTo>
                    <a:pt x="98" y="295"/>
                  </a:lnTo>
                  <a:lnTo>
                    <a:pt x="120" y="282"/>
                  </a:lnTo>
                  <a:lnTo>
                    <a:pt x="125" y="290"/>
                  </a:lnTo>
                  <a:lnTo>
                    <a:pt x="116" y="295"/>
                  </a:lnTo>
                  <a:lnTo>
                    <a:pt x="125" y="322"/>
                  </a:lnTo>
                  <a:lnTo>
                    <a:pt x="111" y="331"/>
                  </a:lnTo>
                  <a:lnTo>
                    <a:pt x="107" y="331"/>
                  </a:lnTo>
                  <a:lnTo>
                    <a:pt x="93" y="340"/>
                  </a:lnTo>
                  <a:lnTo>
                    <a:pt x="84" y="331"/>
                  </a:lnTo>
                  <a:lnTo>
                    <a:pt x="75" y="335"/>
                  </a:lnTo>
                  <a:lnTo>
                    <a:pt x="67" y="353"/>
                  </a:lnTo>
                  <a:lnTo>
                    <a:pt x="49" y="375"/>
                  </a:lnTo>
                  <a:lnTo>
                    <a:pt x="58" y="393"/>
                  </a:lnTo>
                  <a:lnTo>
                    <a:pt x="62" y="389"/>
                  </a:lnTo>
                  <a:lnTo>
                    <a:pt x="62" y="402"/>
                  </a:lnTo>
                  <a:lnTo>
                    <a:pt x="67" y="402"/>
                  </a:lnTo>
                  <a:lnTo>
                    <a:pt x="58" y="416"/>
                  </a:lnTo>
                  <a:lnTo>
                    <a:pt x="62" y="425"/>
                  </a:lnTo>
                  <a:lnTo>
                    <a:pt x="67" y="420"/>
                  </a:lnTo>
                  <a:lnTo>
                    <a:pt x="75" y="442"/>
                  </a:lnTo>
                  <a:lnTo>
                    <a:pt x="98" y="438"/>
                  </a:lnTo>
                  <a:lnTo>
                    <a:pt x="102" y="429"/>
                  </a:lnTo>
                  <a:lnTo>
                    <a:pt x="111" y="442"/>
                  </a:lnTo>
                  <a:lnTo>
                    <a:pt x="107" y="451"/>
                  </a:lnTo>
                  <a:lnTo>
                    <a:pt x="107" y="469"/>
                  </a:lnTo>
                  <a:lnTo>
                    <a:pt x="98" y="478"/>
                  </a:lnTo>
                  <a:lnTo>
                    <a:pt x="111" y="478"/>
                  </a:lnTo>
                  <a:lnTo>
                    <a:pt x="120" y="469"/>
                  </a:lnTo>
                  <a:lnTo>
                    <a:pt x="134" y="465"/>
                  </a:lnTo>
                  <a:lnTo>
                    <a:pt x="142" y="469"/>
                  </a:lnTo>
                  <a:lnTo>
                    <a:pt x="156" y="492"/>
                  </a:lnTo>
                  <a:lnTo>
                    <a:pt x="160" y="492"/>
                  </a:lnTo>
                  <a:lnTo>
                    <a:pt x="160" y="478"/>
                  </a:lnTo>
                  <a:lnTo>
                    <a:pt x="169" y="483"/>
                  </a:lnTo>
                  <a:lnTo>
                    <a:pt x="187" y="460"/>
                  </a:lnTo>
                  <a:lnTo>
                    <a:pt x="183" y="474"/>
                  </a:lnTo>
                  <a:lnTo>
                    <a:pt x="183" y="496"/>
                  </a:lnTo>
                  <a:lnTo>
                    <a:pt x="174" y="509"/>
                  </a:lnTo>
                  <a:lnTo>
                    <a:pt x="156" y="518"/>
                  </a:lnTo>
                  <a:lnTo>
                    <a:pt x="156" y="527"/>
                  </a:lnTo>
                  <a:lnTo>
                    <a:pt x="142" y="527"/>
                  </a:lnTo>
                  <a:lnTo>
                    <a:pt x="125" y="536"/>
                  </a:lnTo>
                  <a:lnTo>
                    <a:pt x="129" y="550"/>
                  </a:lnTo>
                  <a:lnTo>
                    <a:pt x="120" y="554"/>
                  </a:lnTo>
                  <a:lnTo>
                    <a:pt x="116" y="541"/>
                  </a:lnTo>
                  <a:lnTo>
                    <a:pt x="107" y="541"/>
                  </a:lnTo>
                  <a:lnTo>
                    <a:pt x="98" y="554"/>
                  </a:lnTo>
                  <a:lnTo>
                    <a:pt x="84" y="572"/>
                  </a:lnTo>
                  <a:lnTo>
                    <a:pt x="75" y="572"/>
                  </a:lnTo>
                  <a:lnTo>
                    <a:pt x="67" y="585"/>
                  </a:lnTo>
                  <a:lnTo>
                    <a:pt x="67" y="594"/>
                  </a:lnTo>
                  <a:lnTo>
                    <a:pt x="93" y="581"/>
                  </a:lnTo>
                  <a:lnTo>
                    <a:pt x="89" y="572"/>
                  </a:lnTo>
                  <a:lnTo>
                    <a:pt x="98" y="572"/>
                  </a:lnTo>
                  <a:lnTo>
                    <a:pt x="107" y="576"/>
                  </a:lnTo>
                  <a:lnTo>
                    <a:pt x="138" y="550"/>
                  </a:lnTo>
                  <a:lnTo>
                    <a:pt x="138" y="559"/>
                  </a:lnTo>
                  <a:lnTo>
                    <a:pt x="142" y="545"/>
                  </a:lnTo>
                  <a:lnTo>
                    <a:pt x="147" y="550"/>
                  </a:lnTo>
                  <a:lnTo>
                    <a:pt x="174" y="527"/>
                  </a:lnTo>
                  <a:lnTo>
                    <a:pt x="192" y="527"/>
                  </a:lnTo>
                  <a:lnTo>
                    <a:pt x="205" y="505"/>
                  </a:lnTo>
                  <a:lnTo>
                    <a:pt x="236" y="465"/>
                  </a:lnTo>
                  <a:lnTo>
                    <a:pt x="223" y="460"/>
                  </a:lnTo>
                  <a:lnTo>
                    <a:pt x="227" y="447"/>
                  </a:lnTo>
                  <a:lnTo>
                    <a:pt x="236" y="442"/>
                  </a:lnTo>
                  <a:lnTo>
                    <a:pt x="259" y="402"/>
                  </a:lnTo>
                  <a:lnTo>
                    <a:pt x="268" y="393"/>
                  </a:lnTo>
                  <a:lnTo>
                    <a:pt x="285" y="398"/>
                  </a:lnTo>
                  <a:lnTo>
                    <a:pt x="290" y="407"/>
                  </a:lnTo>
                  <a:lnTo>
                    <a:pt x="272" y="402"/>
                  </a:lnTo>
                  <a:lnTo>
                    <a:pt x="259" y="416"/>
                  </a:lnTo>
                  <a:lnTo>
                    <a:pt x="259" y="420"/>
                  </a:lnTo>
                  <a:lnTo>
                    <a:pt x="250" y="438"/>
                  </a:lnTo>
                  <a:lnTo>
                    <a:pt x="250" y="447"/>
                  </a:lnTo>
                  <a:lnTo>
                    <a:pt x="259" y="451"/>
                  </a:lnTo>
                  <a:lnTo>
                    <a:pt x="250" y="460"/>
                  </a:lnTo>
                  <a:lnTo>
                    <a:pt x="259" y="465"/>
                  </a:lnTo>
                  <a:lnTo>
                    <a:pt x="272" y="451"/>
                  </a:lnTo>
                  <a:lnTo>
                    <a:pt x="276" y="456"/>
                  </a:lnTo>
                  <a:lnTo>
                    <a:pt x="290" y="442"/>
                  </a:lnTo>
                  <a:lnTo>
                    <a:pt x="321" y="442"/>
                  </a:lnTo>
                  <a:lnTo>
                    <a:pt x="321" y="429"/>
                  </a:lnTo>
                  <a:lnTo>
                    <a:pt x="317" y="425"/>
                  </a:lnTo>
                  <a:lnTo>
                    <a:pt x="312" y="420"/>
                  </a:lnTo>
                  <a:lnTo>
                    <a:pt x="308" y="425"/>
                  </a:lnTo>
                  <a:lnTo>
                    <a:pt x="303" y="411"/>
                  </a:lnTo>
                  <a:lnTo>
                    <a:pt x="308" y="407"/>
                  </a:lnTo>
                  <a:lnTo>
                    <a:pt x="312" y="416"/>
                  </a:lnTo>
                  <a:lnTo>
                    <a:pt x="326" y="411"/>
                  </a:lnTo>
                  <a:lnTo>
                    <a:pt x="339" y="429"/>
                  </a:lnTo>
                  <a:lnTo>
                    <a:pt x="352" y="429"/>
                  </a:lnTo>
                  <a:lnTo>
                    <a:pt x="357" y="420"/>
                  </a:lnTo>
                  <a:lnTo>
                    <a:pt x="357" y="429"/>
                  </a:lnTo>
                  <a:lnTo>
                    <a:pt x="366" y="438"/>
                  </a:lnTo>
                  <a:lnTo>
                    <a:pt x="384" y="433"/>
                  </a:lnTo>
                  <a:lnTo>
                    <a:pt x="402" y="442"/>
                  </a:lnTo>
                  <a:lnTo>
                    <a:pt x="419" y="447"/>
                  </a:lnTo>
                  <a:lnTo>
                    <a:pt x="433" y="438"/>
                  </a:lnTo>
                  <a:lnTo>
                    <a:pt x="428" y="456"/>
                  </a:lnTo>
                  <a:lnTo>
                    <a:pt x="455" y="469"/>
                  </a:lnTo>
                  <a:lnTo>
                    <a:pt x="473" y="483"/>
                  </a:lnTo>
                  <a:lnTo>
                    <a:pt x="477" y="478"/>
                  </a:lnTo>
                  <a:lnTo>
                    <a:pt x="469" y="465"/>
                  </a:lnTo>
                  <a:lnTo>
                    <a:pt x="473" y="465"/>
                  </a:lnTo>
                  <a:lnTo>
                    <a:pt x="486" y="474"/>
                  </a:lnTo>
                  <a:lnTo>
                    <a:pt x="482" y="483"/>
                  </a:lnTo>
                  <a:lnTo>
                    <a:pt x="491" y="487"/>
                  </a:lnTo>
                  <a:lnTo>
                    <a:pt x="495" y="474"/>
                  </a:lnTo>
                  <a:lnTo>
                    <a:pt x="495" y="460"/>
                  </a:lnTo>
                  <a:lnTo>
                    <a:pt x="500" y="478"/>
                  </a:lnTo>
                  <a:lnTo>
                    <a:pt x="495" y="487"/>
                  </a:lnTo>
                  <a:lnTo>
                    <a:pt x="504" y="496"/>
                  </a:lnTo>
                  <a:lnTo>
                    <a:pt x="504" y="518"/>
                  </a:lnTo>
                  <a:lnTo>
                    <a:pt x="513" y="505"/>
                  </a:lnTo>
                  <a:lnTo>
                    <a:pt x="509" y="487"/>
                  </a:lnTo>
                  <a:lnTo>
                    <a:pt x="513" y="487"/>
                  </a:lnTo>
                  <a:lnTo>
                    <a:pt x="518" y="496"/>
                  </a:lnTo>
                  <a:lnTo>
                    <a:pt x="522" y="518"/>
                  </a:lnTo>
                  <a:lnTo>
                    <a:pt x="536" y="527"/>
                  </a:lnTo>
                  <a:lnTo>
                    <a:pt x="531" y="541"/>
                  </a:lnTo>
                  <a:lnTo>
                    <a:pt x="540" y="550"/>
                  </a:lnTo>
                  <a:lnTo>
                    <a:pt x="540" y="559"/>
                  </a:lnTo>
                  <a:lnTo>
                    <a:pt x="549" y="572"/>
                  </a:lnTo>
                  <a:lnTo>
                    <a:pt x="558" y="568"/>
                  </a:lnTo>
                  <a:lnTo>
                    <a:pt x="562" y="581"/>
                  </a:lnTo>
                  <a:lnTo>
                    <a:pt x="567" y="572"/>
                  </a:lnTo>
                  <a:lnTo>
                    <a:pt x="567" y="554"/>
                  </a:lnTo>
                  <a:lnTo>
                    <a:pt x="567" y="550"/>
                  </a:lnTo>
                  <a:lnTo>
                    <a:pt x="567" y="541"/>
                  </a:lnTo>
                  <a:lnTo>
                    <a:pt x="558" y="541"/>
                  </a:lnTo>
                  <a:lnTo>
                    <a:pt x="540" y="523"/>
                  </a:lnTo>
                  <a:lnTo>
                    <a:pt x="527" y="496"/>
                  </a:lnTo>
                  <a:lnTo>
                    <a:pt x="509" y="460"/>
                  </a:lnTo>
                  <a:lnTo>
                    <a:pt x="491" y="447"/>
                  </a:lnTo>
                  <a:lnTo>
                    <a:pt x="477" y="447"/>
                  </a:lnTo>
                  <a:lnTo>
                    <a:pt x="469" y="460"/>
                  </a:lnTo>
                  <a:lnTo>
                    <a:pt x="455" y="465"/>
                  </a:lnTo>
                  <a:lnTo>
                    <a:pt x="451" y="456"/>
                  </a:lnTo>
                  <a:lnTo>
                    <a:pt x="437" y="438"/>
                  </a:lnTo>
                  <a:lnTo>
                    <a:pt x="433" y="433"/>
                  </a:lnTo>
                  <a:lnTo>
                    <a:pt x="428" y="429"/>
                  </a:lnTo>
                  <a:lnTo>
                    <a:pt x="419" y="438"/>
                  </a:lnTo>
                  <a:lnTo>
                    <a:pt x="410" y="438"/>
                  </a:lnTo>
                  <a:lnTo>
                    <a:pt x="406" y="433"/>
                  </a:lnTo>
                  <a:lnTo>
                    <a:pt x="406" y="98"/>
                  </a:lnTo>
                  <a:lnTo>
                    <a:pt x="388" y="89"/>
                  </a:lnTo>
                  <a:lnTo>
                    <a:pt x="361" y="76"/>
                  </a:lnTo>
                  <a:lnTo>
                    <a:pt x="348" y="85"/>
                  </a:lnTo>
                  <a:lnTo>
                    <a:pt x="330" y="76"/>
                  </a:lnTo>
                  <a:lnTo>
                    <a:pt x="317" y="76"/>
                  </a:lnTo>
                  <a:lnTo>
                    <a:pt x="299" y="67"/>
                  </a:lnTo>
                  <a:lnTo>
                    <a:pt x="281" y="63"/>
                  </a:lnTo>
                  <a:lnTo>
                    <a:pt x="268" y="67"/>
                  </a:lnTo>
                  <a:lnTo>
                    <a:pt x="259" y="72"/>
                  </a:lnTo>
                  <a:lnTo>
                    <a:pt x="259" y="63"/>
                  </a:lnTo>
                  <a:lnTo>
                    <a:pt x="245" y="58"/>
                  </a:lnTo>
                  <a:lnTo>
                    <a:pt x="250" y="45"/>
                  </a:lnTo>
                  <a:lnTo>
                    <a:pt x="236" y="49"/>
                  </a:lnTo>
                  <a:lnTo>
                    <a:pt x="236" y="36"/>
                  </a:lnTo>
                  <a:lnTo>
                    <a:pt x="214" y="31"/>
                  </a:lnTo>
                  <a:lnTo>
                    <a:pt x="214" y="9"/>
                  </a:lnTo>
                  <a:lnTo>
                    <a:pt x="209" y="9"/>
                  </a:lnTo>
                  <a:lnTo>
                    <a:pt x="205" y="27"/>
                  </a:lnTo>
                  <a:lnTo>
                    <a:pt x="205" y="31"/>
                  </a:lnTo>
                  <a:lnTo>
                    <a:pt x="192" y="36"/>
                  </a:lnTo>
                  <a:lnTo>
                    <a:pt x="201" y="9"/>
                  </a:lnTo>
                  <a:lnTo>
                    <a:pt x="187" y="0"/>
                  </a:lnTo>
                  <a:lnTo>
                    <a:pt x="169" y="31"/>
                  </a:lnTo>
                  <a:lnTo>
                    <a:pt x="151" y="36"/>
                  </a:lnTo>
                  <a:lnTo>
                    <a:pt x="142" y="36"/>
                  </a:lnTo>
                  <a:lnTo>
                    <a:pt x="116" y="58"/>
                  </a:lnTo>
                  <a:lnTo>
                    <a:pt x="111" y="67"/>
                  </a:lnTo>
                  <a:lnTo>
                    <a:pt x="107" y="58"/>
                  </a:lnTo>
                  <a:lnTo>
                    <a:pt x="98" y="76"/>
                  </a:lnTo>
                  <a:lnTo>
                    <a:pt x="93" y="80"/>
                  </a:lnTo>
                  <a:lnTo>
                    <a:pt x="84" y="94"/>
                  </a:lnTo>
                  <a:lnTo>
                    <a:pt x="84" y="112"/>
                  </a:lnTo>
                  <a:lnTo>
                    <a:pt x="53" y="130"/>
                  </a:lnTo>
                  <a:lnTo>
                    <a:pt x="44" y="130"/>
                  </a:lnTo>
                  <a:lnTo>
                    <a:pt x="40" y="152"/>
                  </a:lnTo>
                  <a:lnTo>
                    <a:pt x="53" y="156"/>
                  </a:lnTo>
                  <a:lnTo>
                    <a:pt x="75" y="170"/>
                  </a:lnTo>
                  <a:lnTo>
                    <a:pt x="80" y="183"/>
                  </a:lnTo>
                  <a:lnTo>
                    <a:pt x="80" y="197"/>
                  </a:lnTo>
                  <a:lnTo>
                    <a:pt x="111" y="201"/>
                  </a:lnTo>
                  <a:lnTo>
                    <a:pt x="111" y="210"/>
                  </a:lnTo>
                  <a:lnTo>
                    <a:pt x="116" y="219"/>
                  </a:lnTo>
                  <a:lnTo>
                    <a:pt x="129" y="219"/>
                  </a:lnTo>
                  <a:lnTo>
                    <a:pt x="134" y="228"/>
                  </a:lnTo>
                  <a:lnTo>
                    <a:pt x="129" y="232"/>
                  </a:lnTo>
                  <a:close/>
                  <a:moveTo>
                    <a:pt x="138" y="1211"/>
                  </a:moveTo>
                  <a:lnTo>
                    <a:pt x="142" y="1216"/>
                  </a:lnTo>
                  <a:lnTo>
                    <a:pt x="147" y="1216"/>
                  </a:lnTo>
                  <a:lnTo>
                    <a:pt x="147" y="1207"/>
                  </a:lnTo>
                  <a:lnTo>
                    <a:pt x="138" y="1211"/>
                  </a:lnTo>
                  <a:close/>
                  <a:moveTo>
                    <a:pt x="165" y="1216"/>
                  </a:moveTo>
                  <a:lnTo>
                    <a:pt x="156" y="1220"/>
                  </a:lnTo>
                  <a:lnTo>
                    <a:pt x="160" y="1229"/>
                  </a:lnTo>
                  <a:lnTo>
                    <a:pt x="169" y="1229"/>
                  </a:lnTo>
                  <a:lnTo>
                    <a:pt x="169" y="1220"/>
                  </a:lnTo>
                  <a:lnTo>
                    <a:pt x="165" y="1216"/>
                  </a:lnTo>
                  <a:close/>
                  <a:moveTo>
                    <a:pt x="205" y="1256"/>
                  </a:moveTo>
                  <a:lnTo>
                    <a:pt x="209" y="1247"/>
                  </a:lnTo>
                  <a:lnTo>
                    <a:pt x="205" y="1242"/>
                  </a:lnTo>
                  <a:lnTo>
                    <a:pt x="196" y="1238"/>
                  </a:lnTo>
                  <a:lnTo>
                    <a:pt x="192" y="1242"/>
                  </a:lnTo>
                  <a:lnTo>
                    <a:pt x="201" y="1251"/>
                  </a:lnTo>
                  <a:lnTo>
                    <a:pt x="205" y="1256"/>
                  </a:lnTo>
                  <a:close/>
                  <a:moveTo>
                    <a:pt x="477" y="487"/>
                  </a:moveTo>
                  <a:lnTo>
                    <a:pt x="477" y="492"/>
                  </a:lnTo>
                  <a:lnTo>
                    <a:pt x="486" y="509"/>
                  </a:lnTo>
                  <a:lnTo>
                    <a:pt x="482" y="518"/>
                  </a:lnTo>
                  <a:lnTo>
                    <a:pt x="486" y="518"/>
                  </a:lnTo>
                  <a:lnTo>
                    <a:pt x="491" y="514"/>
                  </a:lnTo>
                  <a:lnTo>
                    <a:pt x="495" y="523"/>
                  </a:lnTo>
                  <a:lnTo>
                    <a:pt x="491" y="527"/>
                  </a:lnTo>
                  <a:lnTo>
                    <a:pt x="500" y="541"/>
                  </a:lnTo>
                  <a:lnTo>
                    <a:pt x="504" y="527"/>
                  </a:lnTo>
                  <a:lnTo>
                    <a:pt x="500" y="518"/>
                  </a:lnTo>
                  <a:lnTo>
                    <a:pt x="500" y="492"/>
                  </a:lnTo>
                  <a:lnTo>
                    <a:pt x="486" y="487"/>
                  </a:lnTo>
                  <a:lnTo>
                    <a:pt x="477" y="487"/>
                  </a:lnTo>
                  <a:close/>
                  <a:moveTo>
                    <a:pt x="504" y="545"/>
                  </a:moveTo>
                  <a:lnTo>
                    <a:pt x="509" y="541"/>
                  </a:lnTo>
                  <a:lnTo>
                    <a:pt x="513" y="523"/>
                  </a:lnTo>
                  <a:lnTo>
                    <a:pt x="518" y="532"/>
                  </a:lnTo>
                  <a:lnTo>
                    <a:pt x="527" y="532"/>
                  </a:lnTo>
                  <a:lnTo>
                    <a:pt x="531" y="527"/>
                  </a:lnTo>
                  <a:lnTo>
                    <a:pt x="513" y="514"/>
                  </a:lnTo>
                  <a:lnTo>
                    <a:pt x="509" y="523"/>
                  </a:lnTo>
                  <a:lnTo>
                    <a:pt x="509" y="532"/>
                  </a:lnTo>
                  <a:lnTo>
                    <a:pt x="504" y="545"/>
                  </a:lnTo>
                  <a:close/>
                  <a:moveTo>
                    <a:pt x="540" y="572"/>
                  </a:moveTo>
                  <a:lnTo>
                    <a:pt x="536" y="563"/>
                  </a:lnTo>
                  <a:lnTo>
                    <a:pt x="536" y="559"/>
                  </a:lnTo>
                  <a:lnTo>
                    <a:pt x="522" y="541"/>
                  </a:lnTo>
                  <a:lnTo>
                    <a:pt x="518" y="536"/>
                  </a:lnTo>
                  <a:lnTo>
                    <a:pt x="513" y="550"/>
                  </a:lnTo>
                  <a:lnTo>
                    <a:pt x="518" y="550"/>
                  </a:lnTo>
                  <a:lnTo>
                    <a:pt x="527" y="568"/>
                  </a:lnTo>
                  <a:lnTo>
                    <a:pt x="522" y="568"/>
                  </a:lnTo>
                  <a:lnTo>
                    <a:pt x="527" y="581"/>
                  </a:lnTo>
                  <a:lnTo>
                    <a:pt x="531" y="572"/>
                  </a:lnTo>
                  <a:lnTo>
                    <a:pt x="540" y="581"/>
                  </a:lnTo>
                  <a:lnTo>
                    <a:pt x="540" y="572"/>
                  </a:lnTo>
                  <a:close/>
                  <a:moveTo>
                    <a:pt x="674" y="719"/>
                  </a:moveTo>
                  <a:lnTo>
                    <a:pt x="670" y="724"/>
                  </a:lnTo>
                  <a:lnTo>
                    <a:pt x="674" y="733"/>
                  </a:lnTo>
                  <a:lnTo>
                    <a:pt x="656" y="728"/>
                  </a:lnTo>
                  <a:lnTo>
                    <a:pt x="647" y="728"/>
                  </a:lnTo>
                  <a:lnTo>
                    <a:pt x="647" y="737"/>
                  </a:lnTo>
                  <a:lnTo>
                    <a:pt x="652" y="742"/>
                  </a:lnTo>
                  <a:lnTo>
                    <a:pt x="652" y="773"/>
                  </a:lnTo>
                  <a:lnTo>
                    <a:pt x="665" y="778"/>
                  </a:lnTo>
                  <a:lnTo>
                    <a:pt x="656" y="782"/>
                  </a:lnTo>
                  <a:lnTo>
                    <a:pt x="656" y="791"/>
                  </a:lnTo>
                  <a:lnTo>
                    <a:pt x="656" y="818"/>
                  </a:lnTo>
                  <a:lnTo>
                    <a:pt x="652" y="831"/>
                  </a:lnTo>
                  <a:lnTo>
                    <a:pt x="647" y="836"/>
                  </a:lnTo>
                  <a:lnTo>
                    <a:pt x="652" y="885"/>
                  </a:lnTo>
                  <a:lnTo>
                    <a:pt x="647" y="885"/>
                  </a:lnTo>
                  <a:lnTo>
                    <a:pt x="652" y="894"/>
                  </a:lnTo>
                  <a:lnTo>
                    <a:pt x="656" y="903"/>
                  </a:lnTo>
                  <a:lnTo>
                    <a:pt x="656" y="921"/>
                  </a:lnTo>
                  <a:lnTo>
                    <a:pt x="670" y="934"/>
                  </a:lnTo>
                  <a:lnTo>
                    <a:pt x="670" y="938"/>
                  </a:lnTo>
                  <a:lnTo>
                    <a:pt x="674" y="943"/>
                  </a:lnTo>
                  <a:lnTo>
                    <a:pt x="683" y="934"/>
                  </a:lnTo>
                  <a:lnTo>
                    <a:pt x="683" y="938"/>
                  </a:lnTo>
                  <a:lnTo>
                    <a:pt x="679" y="947"/>
                  </a:lnTo>
                  <a:lnTo>
                    <a:pt x="679" y="965"/>
                  </a:lnTo>
                  <a:lnTo>
                    <a:pt x="687" y="974"/>
                  </a:lnTo>
                  <a:lnTo>
                    <a:pt x="701" y="988"/>
                  </a:lnTo>
                  <a:lnTo>
                    <a:pt x="701" y="992"/>
                  </a:lnTo>
                  <a:lnTo>
                    <a:pt x="705" y="992"/>
                  </a:lnTo>
                  <a:lnTo>
                    <a:pt x="705" y="1005"/>
                  </a:lnTo>
                  <a:lnTo>
                    <a:pt x="719" y="1005"/>
                  </a:lnTo>
                  <a:lnTo>
                    <a:pt x="732" y="1014"/>
                  </a:lnTo>
                  <a:lnTo>
                    <a:pt x="746" y="1023"/>
                  </a:lnTo>
                  <a:lnTo>
                    <a:pt x="750" y="1041"/>
                  </a:lnTo>
                  <a:lnTo>
                    <a:pt x="786" y="1037"/>
                  </a:lnTo>
                  <a:lnTo>
                    <a:pt x="839" y="1064"/>
                  </a:lnTo>
                  <a:lnTo>
                    <a:pt x="884" y="1064"/>
                  </a:lnTo>
                  <a:lnTo>
                    <a:pt x="880" y="1055"/>
                  </a:lnTo>
                  <a:lnTo>
                    <a:pt x="906" y="1055"/>
                  </a:lnTo>
                  <a:lnTo>
                    <a:pt x="929" y="1068"/>
                  </a:lnTo>
                  <a:lnTo>
                    <a:pt x="933" y="1090"/>
                  </a:lnTo>
                  <a:lnTo>
                    <a:pt x="951" y="1104"/>
                  </a:lnTo>
                  <a:lnTo>
                    <a:pt x="964" y="1086"/>
                  </a:lnTo>
                  <a:lnTo>
                    <a:pt x="978" y="1090"/>
                  </a:lnTo>
                  <a:lnTo>
                    <a:pt x="1005" y="1122"/>
                  </a:lnTo>
                  <a:lnTo>
                    <a:pt x="1014" y="1140"/>
                  </a:lnTo>
                  <a:lnTo>
                    <a:pt x="1036" y="1148"/>
                  </a:lnTo>
                  <a:lnTo>
                    <a:pt x="1045" y="1144"/>
                  </a:lnTo>
                  <a:lnTo>
                    <a:pt x="1040" y="1126"/>
                  </a:lnTo>
                  <a:lnTo>
                    <a:pt x="1049" y="1113"/>
                  </a:lnTo>
                  <a:lnTo>
                    <a:pt x="1094" y="1086"/>
                  </a:lnTo>
                  <a:lnTo>
                    <a:pt x="1125" y="1095"/>
                  </a:lnTo>
                  <a:lnTo>
                    <a:pt x="1139" y="1099"/>
                  </a:lnTo>
                  <a:lnTo>
                    <a:pt x="1143" y="1095"/>
                  </a:lnTo>
                  <a:lnTo>
                    <a:pt x="1152" y="1099"/>
                  </a:lnTo>
                  <a:lnTo>
                    <a:pt x="1156" y="1095"/>
                  </a:lnTo>
                  <a:lnTo>
                    <a:pt x="1148" y="1090"/>
                  </a:lnTo>
                  <a:lnTo>
                    <a:pt x="1152" y="1086"/>
                  </a:lnTo>
                  <a:lnTo>
                    <a:pt x="1148" y="1077"/>
                  </a:lnTo>
                  <a:lnTo>
                    <a:pt x="1139" y="1081"/>
                  </a:lnTo>
                  <a:lnTo>
                    <a:pt x="1139" y="1073"/>
                  </a:lnTo>
                  <a:lnTo>
                    <a:pt x="1170" y="1077"/>
                  </a:lnTo>
                  <a:lnTo>
                    <a:pt x="1179" y="1077"/>
                  </a:lnTo>
                  <a:lnTo>
                    <a:pt x="1183" y="1077"/>
                  </a:lnTo>
                  <a:lnTo>
                    <a:pt x="1192" y="1073"/>
                  </a:lnTo>
                  <a:lnTo>
                    <a:pt x="1201" y="1077"/>
                  </a:lnTo>
                  <a:lnTo>
                    <a:pt x="1210" y="1090"/>
                  </a:lnTo>
                  <a:lnTo>
                    <a:pt x="1228" y="1077"/>
                  </a:lnTo>
                  <a:lnTo>
                    <a:pt x="1246" y="1104"/>
                  </a:lnTo>
                  <a:lnTo>
                    <a:pt x="1237" y="1117"/>
                  </a:lnTo>
                  <a:lnTo>
                    <a:pt x="1246" y="1117"/>
                  </a:lnTo>
                  <a:lnTo>
                    <a:pt x="1246" y="1122"/>
                  </a:lnTo>
                  <a:lnTo>
                    <a:pt x="1259" y="1148"/>
                  </a:lnTo>
                  <a:lnTo>
                    <a:pt x="1264" y="1148"/>
                  </a:lnTo>
                  <a:lnTo>
                    <a:pt x="1268" y="1157"/>
                  </a:lnTo>
                  <a:lnTo>
                    <a:pt x="1268" y="1162"/>
                  </a:lnTo>
                  <a:lnTo>
                    <a:pt x="1282" y="1157"/>
                  </a:lnTo>
                  <a:lnTo>
                    <a:pt x="1286" y="1135"/>
                  </a:lnTo>
                  <a:lnTo>
                    <a:pt x="1277" y="1122"/>
                  </a:lnTo>
                  <a:lnTo>
                    <a:pt x="1277" y="1108"/>
                  </a:lnTo>
                  <a:lnTo>
                    <a:pt x="1268" y="1095"/>
                  </a:lnTo>
                  <a:lnTo>
                    <a:pt x="1268" y="1081"/>
                  </a:lnTo>
                  <a:lnTo>
                    <a:pt x="1264" y="1068"/>
                  </a:lnTo>
                  <a:lnTo>
                    <a:pt x="1273" y="1046"/>
                  </a:lnTo>
                  <a:lnTo>
                    <a:pt x="1277" y="1046"/>
                  </a:lnTo>
                  <a:lnTo>
                    <a:pt x="1295" y="1028"/>
                  </a:lnTo>
                  <a:lnTo>
                    <a:pt x="1304" y="1014"/>
                  </a:lnTo>
                  <a:lnTo>
                    <a:pt x="1317" y="1010"/>
                  </a:lnTo>
                  <a:lnTo>
                    <a:pt x="1322" y="1001"/>
                  </a:lnTo>
                  <a:lnTo>
                    <a:pt x="1326" y="1005"/>
                  </a:lnTo>
                  <a:lnTo>
                    <a:pt x="1331" y="997"/>
                  </a:lnTo>
                  <a:lnTo>
                    <a:pt x="1335" y="997"/>
                  </a:lnTo>
                  <a:lnTo>
                    <a:pt x="1344" y="992"/>
                  </a:lnTo>
                  <a:lnTo>
                    <a:pt x="1331" y="992"/>
                  </a:lnTo>
                  <a:lnTo>
                    <a:pt x="1335" y="983"/>
                  </a:lnTo>
                  <a:lnTo>
                    <a:pt x="1344" y="983"/>
                  </a:lnTo>
                  <a:lnTo>
                    <a:pt x="1344" y="974"/>
                  </a:lnTo>
                  <a:lnTo>
                    <a:pt x="1335" y="970"/>
                  </a:lnTo>
                  <a:lnTo>
                    <a:pt x="1349" y="970"/>
                  </a:lnTo>
                  <a:lnTo>
                    <a:pt x="1340" y="956"/>
                  </a:lnTo>
                  <a:lnTo>
                    <a:pt x="1335" y="956"/>
                  </a:lnTo>
                  <a:lnTo>
                    <a:pt x="1335" y="947"/>
                  </a:lnTo>
                  <a:lnTo>
                    <a:pt x="1335" y="938"/>
                  </a:lnTo>
                  <a:lnTo>
                    <a:pt x="1335" y="912"/>
                  </a:lnTo>
                  <a:lnTo>
                    <a:pt x="1340" y="907"/>
                  </a:lnTo>
                  <a:lnTo>
                    <a:pt x="1340" y="934"/>
                  </a:lnTo>
                  <a:lnTo>
                    <a:pt x="1344" y="938"/>
                  </a:lnTo>
                  <a:lnTo>
                    <a:pt x="1344" y="952"/>
                  </a:lnTo>
                  <a:lnTo>
                    <a:pt x="1344" y="956"/>
                  </a:lnTo>
                  <a:lnTo>
                    <a:pt x="1349" y="943"/>
                  </a:lnTo>
                  <a:lnTo>
                    <a:pt x="1353" y="943"/>
                  </a:lnTo>
                  <a:lnTo>
                    <a:pt x="1357" y="934"/>
                  </a:lnTo>
                  <a:lnTo>
                    <a:pt x="1353" y="930"/>
                  </a:lnTo>
                  <a:lnTo>
                    <a:pt x="1353" y="921"/>
                  </a:lnTo>
                  <a:lnTo>
                    <a:pt x="1353" y="916"/>
                  </a:lnTo>
                  <a:lnTo>
                    <a:pt x="1357" y="916"/>
                  </a:lnTo>
                  <a:lnTo>
                    <a:pt x="1357" y="925"/>
                  </a:lnTo>
                  <a:lnTo>
                    <a:pt x="1366" y="912"/>
                  </a:lnTo>
                  <a:lnTo>
                    <a:pt x="1375" y="912"/>
                  </a:lnTo>
                  <a:lnTo>
                    <a:pt x="1375" y="889"/>
                  </a:lnTo>
                  <a:lnTo>
                    <a:pt x="1371" y="889"/>
                  </a:lnTo>
                  <a:lnTo>
                    <a:pt x="1371" y="885"/>
                  </a:lnTo>
                  <a:lnTo>
                    <a:pt x="1402" y="871"/>
                  </a:lnTo>
                  <a:lnTo>
                    <a:pt x="1411" y="871"/>
                  </a:lnTo>
                  <a:lnTo>
                    <a:pt x="1420" y="867"/>
                  </a:lnTo>
                  <a:lnTo>
                    <a:pt x="1429" y="867"/>
                  </a:lnTo>
                  <a:lnTo>
                    <a:pt x="1433" y="862"/>
                  </a:lnTo>
                  <a:lnTo>
                    <a:pt x="1429" y="854"/>
                  </a:lnTo>
                  <a:lnTo>
                    <a:pt x="1424" y="854"/>
                  </a:lnTo>
                  <a:lnTo>
                    <a:pt x="1424" y="858"/>
                  </a:lnTo>
                  <a:lnTo>
                    <a:pt x="1420" y="858"/>
                  </a:lnTo>
                  <a:lnTo>
                    <a:pt x="1420" y="849"/>
                  </a:lnTo>
                  <a:lnTo>
                    <a:pt x="1424" y="831"/>
                  </a:lnTo>
                  <a:lnTo>
                    <a:pt x="1429" y="822"/>
                  </a:lnTo>
                  <a:lnTo>
                    <a:pt x="1442" y="822"/>
                  </a:lnTo>
                  <a:lnTo>
                    <a:pt x="1447" y="813"/>
                  </a:lnTo>
                  <a:lnTo>
                    <a:pt x="1456" y="822"/>
                  </a:lnTo>
                  <a:lnTo>
                    <a:pt x="1474" y="809"/>
                  </a:lnTo>
                  <a:lnTo>
                    <a:pt x="1474" y="800"/>
                  </a:lnTo>
                  <a:lnTo>
                    <a:pt x="1469" y="800"/>
                  </a:lnTo>
                  <a:lnTo>
                    <a:pt x="1469" y="795"/>
                  </a:lnTo>
                  <a:lnTo>
                    <a:pt x="1460" y="791"/>
                  </a:lnTo>
                  <a:lnTo>
                    <a:pt x="1451" y="751"/>
                  </a:lnTo>
                  <a:lnTo>
                    <a:pt x="1442" y="755"/>
                  </a:lnTo>
                  <a:lnTo>
                    <a:pt x="1438" y="751"/>
                  </a:lnTo>
                  <a:lnTo>
                    <a:pt x="1420" y="778"/>
                  </a:lnTo>
                  <a:lnTo>
                    <a:pt x="1407" y="800"/>
                  </a:lnTo>
                  <a:lnTo>
                    <a:pt x="1362" y="804"/>
                  </a:lnTo>
                  <a:lnTo>
                    <a:pt x="1357" y="804"/>
                  </a:lnTo>
                  <a:lnTo>
                    <a:pt x="1340" y="818"/>
                  </a:lnTo>
                  <a:lnTo>
                    <a:pt x="1344" y="822"/>
                  </a:lnTo>
                  <a:lnTo>
                    <a:pt x="1340" y="831"/>
                  </a:lnTo>
                  <a:lnTo>
                    <a:pt x="1326" y="836"/>
                  </a:lnTo>
                  <a:lnTo>
                    <a:pt x="1304" y="831"/>
                  </a:lnTo>
                  <a:lnTo>
                    <a:pt x="1304" y="836"/>
                  </a:lnTo>
                  <a:lnTo>
                    <a:pt x="1299" y="845"/>
                  </a:lnTo>
                  <a:lnTo>
                    <a:pt x="1304" y="845"/>
                  </a:lnTo>
                  <a:lnTo>
                    <a:pt x="1299" y="849"/>
                  </a:lnTo>
                  <a:lnTo>
                    <a:pt x="1282" y="858"/>
                  </a:lnTo>
                  <a:lnTo>
                    <a:pt x="1268" y="867"/>
                  </a:lnTo>
                  <a:lnTo>
                    <a:pt x="1250" y="871"/>
                  </a:lnTo>
                  <a:lnTo>
                    <a:pt x="1237" y="862"/>
                  </a:lnTo>
                  <a:lnTo>
                    <a:pt x="1241" y="854"/>
                  </a:lnTo>
                  <a:lnTo>
                    <a:pt x="1241" y="845"/>
                  </a:lnTo>
                  <a:lnTo>
                    <a:pt x="1246" y="845"/>
                  </a:lnTo>
                  <a:lnTo>
                    <a:pt x="1246" y="831"/>
                  </a:lnTo>
                  <a:lnTo>
                    <a:pt x="1246" y="818"/>
                  </a:lnTo>
                  <a:lnTo>
                    <a:pt x="1237" y="818"/>
                  </a:lnTo>
                  <a:lnTo>
                    <a:pt x="1232" y="822"/>
                  </a:lnTo>
                  <a:lnTo>
                    <a:pt x="1232" y="818"/>
                  </a:lnTo>
                  <a:lnTo>
                    <a:pt x="1237" y="809"/>
                  </a:lnTo>
                  <a:lnTo>
                    <a:pt x="1241" y="795"/>
                  </a:lnTo>
                  <a:lnTo>
                    <a:pt x="1232" y="791"/>
                  </a:lnTo>
                  <a:lnTo>
                    <a:pt x="1219" y="787"/>
                  </a:lnTo>
                  <a:lnTo>
                    <a:pt x="1215" y="787"/>
                  </a:lnTo>
                  <a:lnTo>
                    <a:pt x="1206" y="800"/>
                  </a:lnTo>
                  <a:lnTo>
                    <a:pt x="1201" y="800"/>
                  </a:lnTo>
                  <a:lnTo>
                    <a:pt x="1197" y="804"/>
                  </a:lnTo>
                  <a:lnTo>
                    <a:pt x="1192" y="827"/>
                  </a:lnTo>
                  <a:lnTo>
                    <a:pt x="1192" y="849"/>
                  </a:lnTo>
                  <a:lnTo>
                    <a:pt x="1183" y="862"/>
                  </a:lnTo>
                  <a:lnTo>
                    <a:pt x="1174" y="854"/>
                  </a:lnTo>
                  <a:lnTo>
                    <a:pt x="1174" y="840"/>
                  </a:lnTo>
                  <a:lnTo>
                    <a:pt x="1179" y="809"/>
                  </a:lnTo>
                  <a:lnTo>
                    <a:pt x="1188" y="795"/>
                  </a:lnTo>
                  <a:lnTo>
                    <a:pt x="1170" y="804"/>
                  </a:lnTo>
                  <a:lnTo>
                    <a:pt x="1188" y="787"/>
                  </a:lnTo>
                  <a:lnTo>
                    <a:pt x="1223" y="778"/>
                  </a:lnTo>
                  <a:lnTo>
                    <a:pt x="1219" y="769"/>
                  </a:lnTo>
                  <a:lnTo>
                    <a:pt x="1215" y="764"/>
                  </a:lnTo>
                  <a:lnTo>
                    <a:pt x="1215" y="760"/>
                  </a:lnTo>
                  <a:lnTo>
                    <a:pt x="1197" y="764"/>
                  </a:lnTo>
                  <a:lnTo>
                    <a:pt x="1188" y="769"/>
                  </a:lnTo>
                  <a:lnTo>
                    <a:pt x="1170" y="755"/>
                  </a:lnTo>
                  <a:lnTo>
                    <a:pt x="1161" y="755"/>
                  </a:lnTo>
                  <a:lnTo>
                    <a:pt x="1170" y="746"/>
                  </a:lnTo>
                  <a:lnTo>
                    <a:pt x="1134" y="760"/>
                  </a:lnTo>
                  <a:lnTo>
                    <a:pt x="1125" y="760"/>
                  </a:lnTo>
                  <a:lnTo>
                    <a:pt x="1112" y="760"/>
                  </a:lnTo>
                  <a:lnTo>
                    <a:pt x="1125" y="751"/>
                  </a:lnTo>
                  <a:lnTo>
                    <a:pt x="1139" y="737"/>
                  </a:lnTo>
                  <a:lnTo>
                    <a:pt x="1130" y="733"/>
                  </a:lnTo>
                  <a:lnTo>
                    <a:pt x="1116" y="737"/>
                  </a:lnTo>
                  <a:lnTo>
                    <a:pt x="1107" y="728"/>
                  </a:lnTo>
                  <a:lnTo>
                    <a:pt x="1098" y="724"/>
                  </a:lnTo>
                  <a:lnTo>
                    <a:pt x="1076" y="724"/>
                  </a:lnTo>
                  <a:lnTo>
                    <a:pt x="1072" y="715"/>
                  </a:lnTo>
                  <a:lnTo>
                    <a:pt x="1063" y="719"/>
                  </a:lnTo>
                  <a:lnTo>
                    <a:pt x="674" y="719"/>
                  </a:lnTo>
                  <a:close/>
                  <a:moveTo>
                    <a:pt x="1375" y="885"/>
                  </a:moveTo>
                  <a:lnTo>
                    <a:pt x="1380" y="889"/>
                  </a:lnTo>
                  <a:lnTo>
                    <a:pt x="1389" y="885"/>
                  </a:lnTo>
                  <a:lnTo>
                    <a:pt x="1402" y="876"/>
                  </a:lnTo>
                  <a:lnTo>
                    <a:pt x="1384" y="880"/>
                  </a:lnTo>
                  <a:lnTo>
                    <a:pt x="1375" y="885"/>
                  </a:ln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pic>
          <p:nvPicPr>
            <p:cNvPr id="107" name="Picture 261"/>
            <p:cNvPicPr>
              <a:picLocks noChangeAspect="1" noChangeArrowheads="1"/>
            </p:cNvPicPr>
            <p:nvPr>
              <p:custDataLst>
                <p:tags r:id="rId17"/>
              </p:custDataLst>
            </p:nvPr>
          </p:nvPicPr>
          <p:blipFill>
            <a:blip r:embed="rId59" cstate="print"/>
            <a:srcRect/>
            <a:stretch>
              <a:fillRect/>
            </a:stretch>
          </p:blipFill>
          <p:spPr bwMode="auto">
            <a:xfrm>
              <a:off x="625475" y="3094038"/>
              <a:ext cx="820738" cy="757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8" name="Freeform 262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gray">
            <a:xfrm>
              <a:off x="2497138" y="5376863"/>
              <a:ext cx="390525" cy="777875"/>
            </a:xfrm>
            <a:custGeom>
              <a:avLst/>
              <a:gdLst>
                <a:gd name="T0" fmla="*/ 2147483647 w 286"/>
                <a:gd name="T1" fmla="*/ 2147483647 h 639"/>
                <a:gd name="T2" fmla="*/ 2147483647 w 286"/>
                <a:gd name="T3" fmla="*/ 2147483647 h 639"/>
                <a:gd name="T4" fmla="*/ 2147483647 w 286"/>
                <a:gd name="T5" fmla="*/ 2147483647 h 639"/>
                <a:gd name="T6" fmla="*/ 2147483647 w 286"/>
                <a:gd name="T7" fmla="*/ 2147483647 h 639"/>
                <a:gd name="T8" fmla="*/ 2147483647 w 286"/>
                <a:gd name="T9" fmla="*/ 2147483647 h 639"/>
                <a:gd name="T10" fmla="*/ 2147483647 w 286"/>
                <a:gd name="T11" fmla="*/ 2147483647 h 639"/>
                <a:gd name="T12" fmla="*/ 2147483647 w 286"/>
                <a:gd name="T13" fmla="*/ 2147483647 h 639"/>
                <a:gd name="T14" fmla="*/ 2147483647 w 286"/>
                <a:gd name="T15" fmla="*/ 2147483647 h 639"/>
                <a:gd name="T16" fmla="*/ 2147483647 w 286"/>
                <a:gd name="T17" fmla="*/ 2147483647 h 639"/>
                <a:gd name="T18" fmla="*/ 2147483647 w 286"/>
                <a:gd name="T19" fmla="*/ 2147483647 h 639"/>
                <a:gd name="T20" fmla="*/ 2147483647 w 286"/>
                <a:gd name="T21" fmla="*/ 2147483647 h 639"/>
                <a:gd name="T22" fmla="*/ 2147483647 w 286"/>
                <a:gd name="T23" fmla="*/ 2147483647 h 639"/>
                <a:gd name="T24" fmla="*/ 2147483647 w 286"/>
                <a:gd name="T25" fmla="*/ 2147483647 h 639"/>
                <a:gd name="T26" fmla="*/ 2147483647 w 286"/>
                <a:gd name="T27" fmla="*/ 2147483647 h 639"/>
                <a:gd name="T28" fmla="*/ 2147483647 w 286"/>
                <a:gd name="T29" fmla="*/ 2147483647 h 639"/>
                <a:gd name="T30" fmla="*/ 2147483647 w 286"/>
                <a:gd name="T31" fmla="*/ 2147483647 h 639"/>
                <a:gd name="T32" fmla="*/ 2147483647 w 286"/>
                <a:gd name="T33" fmla="*/ 2147483647 h 639"/>
                <a:gd name="T34" fmla="*/ 2147483647 w 286"/>
                <a:gd name="T35" fmla="*/ 2147483647 h 639"/>
                <a:gd name="T36" fmla="*/ 2147483647 w 286"/>
                <a:gd name="T37" fmla="*/ 2147483647 h 639"/>
                <a:gd name="T38" fmla="*/ 2147483647 w 286"/>
                <a:gd name="T39" fmla="*/ 2147483647 h 639"/>
                <a:gd name="T40" fmla="*/ 2147483647 w 286"/>
                <a:gd name="T41" fmla="*/ 2147483647 h 639"/>
                <a:gd name="T42" fmla="*/ 2147483647 w 286"/>
                <a:gd name="T43" fmla="*/ 2147483647 h 639"/>
                <a:gd name="T44" fmla="*/ 2147483647 w 286"/>
                <a:gd name="T45" fmla="*/ 2147483647 h 639"/>
                <a:gd name="T46" fmla="*/ 2147483647 w 286"/>
                <a:gd name="T47" fmla="*/ 2147483647 h 639"/>
                <a:gd name="T48" fmla="*/ 2147483647 w 286"/>
                <a:gd name="T49" fmla="*/ 2147483647 h 639"/>
                <a:gd name="T50" fmla="*/ 2147483647 w 286"/>
                <a:gd name="T51" fmla="*/ 2147483647 h 639"/>
                <a:gd name="T52" fmla="*/ 2147483647 w 286"/>
                <a:gd name="T53" fmla="*/ 2147483647 h 639"/>
                <a:gd name="T54" fmla="*/ 2147483647 w 286"/>
                <a:gd name="T55" fmla="*/ 2147483647 h 639"/>
                <a:gd name="T56" fmla="*/ 2147483647 w 286"/>
                <a:gd name="T57" fmla="*/ 0 h 639"/>
                <a:gd name="T58" fmla="*/ 2147483647 w 286"/>
                <a:gd name="T59" fmla="*/ 2147483647 h 639"/>
                <a:gd name="T60" fmla="*/ 2147483647 w 286"/>
                <a:gd name="T61" fmla="*/ 0 h 639"/>
                <a:gd name="T62" fmla="*/ 2147483647 w 286"/>
                <a:gd name="T63" fmla="*/ 2147483647 h 639"/>
                <a:gd name="T64" fmla="*/ 2147483647 w 286"/>
                <a:gd name="T65" fmla="*/ 2147483647 h 639"/>
                <a:gd name="T66" fmla="*/ 2147483647 w 286"/>
                <a:gd name="T67" fmla="*/ 2147483647 h 639"/>
                <a:gd name="T68" fmla="*/ 2147483647 w 286"/>
                <a:gd name="T69" fmla="*/ 2147483647 h 639"/>
                <a:gd name="T70" fmla="*/ 2147483647 w 286"/>
                <a:gd name="T71" fmla="*/ 2147483647 h 639"/>
                <a:gd name="T72" fmla="*/ 2147483647 w 286"/>
                <a:gd name="T73" fmla="*/ 2147483647 h 639"/>
                <a:gd name="T74" fmla="*/ 2147483647 w 286"/>
                <a:gd name="T75" fmla="*/ 2147483647 h 639"/>
                <a:gd name="T76" fmla="*/ 2147483647 w 286"/>
                <a:gd name="T77" fmla="*/ 2147483647 h 639"/>
                <a:gd name="T78" fmla="*/ 2147483647 w 286"/>
                <a:gd name="T79" fmla="*/ 2147483647 h 639"/>
                <a:gd name="T80" fmla="*/ 2147483647 w 286"/>
                <a:gd name="T81" fmla="*/ 2147483647 h 639"/>
                <a:gd name="T82" fmla="*/ 2147483647 w 286"/>
                <a:gd name="T83" fmla="*/ 2147483647 h 639"/>
                <a:gd name="T84" fmla="*/ 2147483647 w 286"/>
                <a:gd name="T85" fmla="*/ 2147483647 h 639"/>
                <a:gd name="T86" fmla="*/ 2147483647 w 286"/>
                <a:gd name="T87" fmla="*/ 2147483647 h 639"/>
                <a:gd name="T88" fmla="*/ 2147483647 w 286"/>
                <a:gd name="T89" fmla="*/ 2147483647 h 639"/>
                <a:gd name="T90" fmla="*/ 2147483647 w 286"/>
                <a:gd name="T91" fmla="*/ 2147483647 h 639"/>
                <a:gd name="T92" fmla="*/ 2147483647 w 286"/>
                <a:gd name="T93" fmla="*/ 2147483647 h 639"/>
                <a:gd name="T94" fmla="*/ 0 w 286"/>
                <a:gd name="T95" fmla="*/ 2147483647 h 639"/>
                <a:gd name="T96" fmla="*/ 2147483647 w 286"/>
                <a:gd name="T97" fmla="*/ 2147483647 h 639"/>
                <a:gd name="T98" fmla="*/ 2147483647 w 286"/>
                <a:gd name="T99" fmla="*/ 2147483647 h 639"/>
                <a:gd name="T100" fmla="*/ 2147483647 w 286"/>
                <a:gd name="T101" fmla="*/ 2147483647 h 639"/>
                <a:gd name="T102" fmla="*/ 2147483647 w 286"/>
                <a:gd name="T103" fmla="*/ 2147483647 h 639"/>
                <a:gd name="T104" fmla="*/ 2147483647 w 286"/>
                <a:gd name="T105" fmla="*/ 2147483647 h 639"/>
                <a:gd name="T106" fmla="*/ 2147483647 w 286"/>
                <a:gd name="T107" fmla="*/ 2147483647 h 639"/>
                <a:gd name="T108" fmla="*/ 2147483647 w 286"/>
                <a:gd name="T109" fmla="*/ 2147483647 h 639"/>
                <a:gd name="T110" fmla="*/ 2147483647 w 286"/>
                <a:gd name="T111" fmla="*/ 2147483647 h 639"/>
                <a:gd name="T112" fmla="*/ 2147483647 w 286"/>
                <a:gd name="T113" fmla="*/ 2147483647 h 63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86"/>
                <a:gd name="T172" fmla="*/ 0 h 639"/>
                <a:gd name="T173" fmla="*/ 286 w 286"/>
                <a:gd name="T174" fmla="*/ 639 h 63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86" h="639">
                  <a:moveTo>
                    <a:pt x="62" y="567"/>
                  </a:moveTo>
                  <a:lnTo>
                    <a:pt x="76" y="576"/>
                  </a:lnTo>
                  <a:lnTo>
                    <a:pt x="67" y="541"/>
                  </a:lnTo>
                  <a:lnTo>
                    <a:pt x="67" y="532"/>
                  </a:lnTo>
                  <a:lnTo>
                    <a:pt x="76" y="523"/>
                  </a:lnTo>
                  <a:lnTo>
                    <a:pt x="80" y="523"/>
                  </a:lnTo>
                  <a:lnTo>
                    <a:pt x="89" y="505"/>
                  </a:lnTo>
                  <a:lnTo>
                    <a:pt x="85" y="500"/>
                  </a:lnTo>
                  <a:lnTo>
                    <a:pt x="111" y="478"/>
                  </a:lnTo>
                  <a:lnTo>
                    <a:pt x="116" y="456"/>
                  </a:lnTo>
                  <a:lnTo>
                    <a:pt x="103" y="451"/>
                  </a:lnTo>
                  <a:lnTo>
                    <a:pt x="89" y="438"/>
                  </a:lnTo>
                  <a:lnTo>
                    <a:pt x="94" y="424"/>
                  </a:lnTo>
                  <a:lnTo>
                    <a:pt x="103" y="411"/>
                  </a:lnTo>
                  <a:lnTo>
                    <a:pt x="120" y="411"/>
                  </a:lnTo>
                  <a:lnTo>
                    <a:pt x="125" y="375"/>
                  </a:lnTo>
                  <a:lnTo>
                    <a:pt x="134" y="366"/>
                  </a:lnTo>
                  <a:lnTo>
                    <a:pt x="129" y="362"/>
                  </a:lnTo>
                  <a:lnTo>
                    <a:pt x="138" y="366"/>
                  </a:lnTo>
                  <a:lnTo>
                    <a:pt x="143" y="362"/>
                  </a:lnTo>
                  <a:lnTo>
                    <a:pt x="143" y="353"/>
                  </a:lnTo>
                  <a:lnTo>
                    <a:pt x="134" y="353"/>
                  </a:lnTo>
                  <a:lnTo>
                    <a:pt x="125" y="349"/>
                  </a:lnTo>
                  <a:lnTo>
                    <a:pt x="125" y="326"/>
                  </a:lnTo>
                  <a:lnTo>
                    <a:pt x="147" y="335"/>
                  </a:lnTo>
                  <a:lnTo>
                    <a:pt x="165" y="331"/>
                  </a:lnTo>
                  <a:lnTo>
                    <a:pt x="161" y="313"/>
                  </a:lnTo>
                  <a:lnTo>
                    <a:pt x="170" y="290"/>
                  </a:lnTo>
                  <a:lnTo>
                    <a:pt x="210" y="286"/>
                  </a:lnTo>
                  <a:lnTo>
                    <a:pt x="228" y="277"/>
                  </a:lnTo>
                  <a:lnTo>
                    <a:pt x="241" y="255"/>
                  </a:lnTo>
                  <a:lnTo>
                    <a:pt x="241" y="241"/>
                  </a:lnTo>
                  <a:lnTo>
                    <a:pt x="237" y="246"/>
                  </a:lnTo>
                  <a:lnTo>
                    <a:pt x="232" y="237"/>
                  </a:lnTo>
                  <a:lnTo>
                    <a:pt x="237" y="228"/>
                  </a:lnTo>
                  <a:lnTo>
                    <a:pt x="219" y="214"/>
                  </a:lnTo>
                  <a:lnTo>
                    <a:pt x="214" y="206"/>
                  </a:lnTo>
                  <a:lnTo>
                    <a:pt x="219" y="188"/>
                  </a:lnTo>
                  <a:lnTo>
                    <a:pt x="223" y="183"/>
                  </a:lnTo>
                  <a:lnTo>
                    <a:pt x="219" y="165"/>
                  </a:lnTo>
                  <a:lnTo>
                    <a:pt x="228" y="138"/>
                  </a:lnTo>
                  <a:lnTo>
                    <a:pt x="232" y="134"/>
                  </a:lnTo>
                  <a:lnTo>
                    <a:pt x="232" y="130"/>
                  </a:lnTo>
                  <a:lnTo>
                    <a:pt x="268" y="94"/>
                  </a:lnTo>
                  <a:lnTo>
                    <a:pt x="286" y="80"/>
                  </a:lnTo>
                  <a:lnTo>
                    <a:pt x="286" y="58"/>
                  </a:lnTo>
                  <a:lnTo>
                    <a:pt x="277" y="58"/>
                  </a:lnTo>
                  <a:lnTo>
                    <a:pt x="272" y="76"/>
                  </a:lnTo>
                  <a:lnTo>
                    <a:pt x="259" y="89"/>
                  </a:lnTo>
                  <a:lnTo>
                    <a:pt x="241" y="89"/>
                  </a:lnTo>
                  <a:lnTo>
                    <a:pt x="228" y="85"/>
                  </a:lnTo>
                  <a:lnTo>
                    <a:pt x="214" y="85"/>
                  </a:lnTo>
                  <a:lnTo>
                    <a:pt x="228" y="58"/>
                  </a:lnTo>
                  <a:lnTo>
                    <a:pt x="228" y="49"/>
                  </a:lnTo>
                  <a:lnTo>
                    <a:pt x="192" y="31"/>
                  </a:lnTo>
                  <a:lnTo>
                    <a:pt x="183" y="31"/>
                  </a:lnTo>
                  <a:lnTo>
                    <a:pt x="156" y="4"/>
                  </a:lnTo>
                  <a:lnTo>
                    <a:pt x="152" y="0"/>
                  </a:lnTo>
                  <a:lnTo>
                    <a:pt x="138" y="0"/>
                  </a:lnTo>
                  <a:lnTo>
                    <a:pt x="134" y="13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89" y="13"/>
                  </a:lnTo>
                  <a:lnTo>
                    <a:pt x="89" y="31"/>
                  </a:lnTo>
                  <a:lnTo>
                    <a:pt x="67" y="45"/>
                  </a:lnTo>
                  <a:lnTo>
                    <a:pt x="62" y="71"/>
                  </a:lnTo>
                  <a:lnTo>
                    <a:pt x="67" y="80"/>
                  </a:lnTo>
                  <a:lnTo>
                    <a:pt x="58" y="94"/>
                  </a:lnTo>
                  <a:lnTo>
                    <a:pt x="49" y="121"/>
                  </a:lnTo>
                  <a:lnTo>
                    <a:pt x="53" y="138"/>
                  </a:lnTo>
                  <a:lnTo>
                    <a:pt x="44" y="143"/>
                  </a:lnTo>
                  <a:lnTo>
                    <a:pt x="40" y="156"/>
                  </a:lnTo>
                  <a:lnTo>
                    <a:pt x="49" y="183"/>
                  </a:lnTo>
                  <a:lnTo>
                    <a:pt x="53" y="183"/>
                  </a:lnTo>
                  <a:lnTo>
                    <a:pt x="53" y="201"/>
                  </a:lnTo>
                  <a:lnTo>
                    <a:pt x="44" y="214"/>
                  </a:lnTo>
                  <a:lnTo>
                    <a:pt x="40" y="237"/>
                  </a:lnTo>
                  <a:lnTo>
                    <a:pt x="31" y="250"/>
                  </a:lnTo>
                  <a:lnTo>
                    <a:pt x="36" y="286"/>
                  </a:lnTo>
                  <a:lnTo>
                    <a:pt x="27" y="290"/>
                  </a:lnTo>
                  <a:lnTo>
                    <a:pt x="27" y="304"/>
                  </a:lnTo>
                  <a:lnTo>
                    <a:pt x="22" y="308"/>
                  </a:lnTo>
                  <a:lnTo>
                    <a:pt x="22" y="326"/>
                  </a:lnTo>
                  <a:lnTo>
                    <a:pt x="27" y="349"/>
                  </a:lnTo>
                  <a:lnTo>
                    <a:pt x="22" y="362"/>
                  </a:lnTo>
                  <a:lnTo>
                    <a:pt x="27" y="375"/>
                  </a:lnTo>
                  <a:lnTo>
                    <a:pt x="22" y="398"/>
                  </a:lnTo>
                  <a:lnTo>
                    <a:pt x="31" y="398"/>
                  </a:lnTo>
                  <a:lnTo>
                    <a:pt x="31" y="407"/>
                  </a:lnTo>
                  <a:lnTo>
                    <a:pt x="22" y="407"/>
                  </a:lnTo>
                  <a:lnTo>
                    <a:pt x="31" y="416"/>
                  </a:lnTo>
                  <a:lnTo>
                    <a:pt x="22" y="424"/>
                  </a:lnTo>
                  <a:lnTo>
                    <a:pt x="22" y="442"/>
                  </a:lnTo>
                  <a:lnTo>
                    <a:pt x="13" y="487"/>
                  </a:lnTo>
                  <a:lnTo>
                    <a:pt x="9" y="492"/>
                  </a:lnTo>
                  <a:lnTo>
                    <a:pt x="0" y="509"/>
                  </a:lnTo>
                  <a:lnTo>
                    <a:pt x="4" y="536"/>
                  </a:lnTo>
                  <a:lnTo>
                    <a:pt x="13" y="536"/>
                  </a:lnTo>
                  <a:lnTo>
                    <a:pt x="13" y="554"/>
                  </a:lnTo>
                  <a:lnTo>
                    <a:pt x="22" y="563"/>
                  </a:lnTo>
                  <a:lnTo>
                    <a:pt x="62" y="567"/>
                  </a:lnTo>
                  <a:close/>
                  <a:moveTo>
                    <a:pt x="71" y="635"/>
                  </a:moveTo>
                  <a:lnTo>
                    <a:pt x="80" y="635"/>
                  </a:lnTo>
                  <a:lnTo>
                    <a:pt x="94" y="635"/>
                  </a:lnTo>
                  <a:lnTo>
                    <a:pt x="103" y="639"/>
                  </a:lnTo>
                  <a:lnTo>
                    <a:pt x="107" y="635"/>
                  </a:lnTo>
                  <a:lnTo>
                    <a:pt x="120" y="635"/>
                  </a:lnTo>
                  <a:lnTo>
                    <a:pt x="125" y="626"/>
                  </a:lnTo>
                  <a:lnTo>
                    <a:pt x="107" y="626"/>
                  </a:lnTo>
                  <a:lnTo>
                    <a:pt x="89" y="617"/>
                  </a:lnTo>
                  <a:lnTo>
                    <a:pt x="80" y="594"/>
                  </a:lnTo>
                  <a:lnTo>
                    <a:pt x="71" y="594"/>
                  </a:lnTo>
                  <a:lnTo>
                    <a:pt x="76" y="585"/>
                  </a:lnTo>
                  <a:lnTo>
                    <a:pt x="71" y="576"/>
                  </a:lnTo>
                  <a:lnTo>
                    <a:pt x="71" y="63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09" name="Freeform 263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2392363" y="4479925"/>
              <a:ext cx="117475" cy="119063"/>
            </a:xfrm>
            <a:custGeom>
              <a:avLst/>
              <a:gdLst>
                <a:gd name="T0" fmla="*/ 2147483647 w 85"/>
                <a:gd name="T1" fmla="*/ 2147483647 h 98"/>
                <a:gd name="T2" fmla="*/ 0 w 85"/>
                <a:gd name="T3" fmla="*/ 2147483647 h 98"/>
                <a:gd name="T4" fmla="*/ 2147483647 w 85"/>
                <a:gd name="T5" fmla="*/ 2147483647 h 98"/>
                <a:gd name="T6" fmla="*/ 2147483647 w 85"/>
                <a:gd name="T7" fmla="*/ 2147483647 h 98"/>
                <a:gd name="T8" fmla="*/ 2147483647 w 85"/>
                <a:gd name="T9" fmla="*/ 2147483647 h 98"/>
                <a:gd name="T10" fmla="*/ 2147483647 w 85"/>
                <a:gd name="T11" fmla="*/ 2147483647 h 98"/>
                <a:gd name="T12" fmla="*/ 2147483647 w 85"/>
                <a:gd name="T13" fmla="*/ 2147483647 h 98"/>
                <a:gd name="T14" fmla="*/ 2147483647 w 85"/>
                <a:gd name="T15" fmla="*/ 2147483647 h 98"/>
                <a:gd name="T16" fmla="*/ 2147483647 w 85"/>
                <a:gd name="T17" fmla="*/ 2147483647 h 98"/>
                <a:gd name="T18" fmla="*/ 2147483647 w 85"/>
                <a:gd name="T19" fmla="*/ 2147483647 h 98"/>
                <a:gd name="T20" fmla="*/ 2147483647 w 85"/>
                <a:gd name="T21" fmla="*/ 2147483647 h 98"/>
                <a:gd name="T22" fmla="*/ 2147483647 w 85"/>
                <a:gd name="T23" fmla="*/ 2147483647 h 98"/>
                <a:gd name="T24" fmla="*/ 2147483647 w 85"/>
                <a:gd name="T25" fmla="*/ 2147483647 h 98"/>
                <a:gd name="T26" fmla="*/ 2147483647 w 85"/>
                <a:gd name="T27" fmla="*/ 2147483647 h 98"/>
                <a:gd name="T28" fmla="*/ 2147483647 w 85"/>
                <a:gd name="T29" fmla="*/ 2147483647 h 98"/>
                <a:gd name="T30" fmla="*/ 2147483647 w 85"/>
                <a:gd name="T31" fmla="*/ 2147483647 h 98"/>
                <a:gd name="T32" fmla="*/ 2147483647 w 85"/>
                <a:gd name="T33" fmla="*/ 2147483647 h 98"/>
                <a:gd name="T34" fmla="*/ 2147483647 w 85"/>
                <a:gd name="T35" fmla="*/ 2147483647 h 98"/>
                <a:gd name="T36" fmla="*/ 2147483647 w 85"/>
                <a:gd name="T37" fmla="*/ 0 h 98"/>
                <a:gd name="T38" fmla="*/ 2147483647 w 85"/>
                <a:gd name="T39" fmla="*/ 2147483647 h 98"/>
                <a:gd name="T40" fmla="*/ 2147483647 w 85"/>
                <a:gd name="T41" fmla="*/ 2147483647 h 98"/>
                <a:gd name="T42" fmla="*/ 2147483647 w 85"/>
                <a:gd name="T43" fmla="*/ 2147483647 h 98"/>
                <a:gd name="T44" fmla="*/ 2147483647 w 85"/>
                <a:gd name="T45" fmla="*/ 2147483647 h 98"/>
                <a:gd name="T46" fmla="*/ 2147483647 w 85"/>
                <a:gd name="T47" fmla="*/ 2147483647 h 98"/>
                <a:gd name="T48" fmla="*/ 2147483647 w 85"/>
                <a:gd name="T49" fmla="*/ 0 h 98"/>
                <a:gd name="T50" fmla="*/ 2147483647 w 85"/>
                <a:gd name="T51" fmla="*/ 2147483647 h 98"/>
                <a:gd name="T52" fmla="*/ 2147483647 w 85"/>
                <a:gd name="T53" fmla="*/ 2147483647 h 98"/>
                <a:gd name="T54" fmla="*/ 2147483647 w 85"/>
                <a:gd name="T55" fmla="*/ 2147483647 h 98"/>
                <a:gd name="T56" fmla="*/ 2147483647 w 85"/>
                <a:gd name="T57" fmla="*/ 2147483647 h 98"/>
                <a:gd name="T58" fmla="*/ 2147483647 w 85"/>
                <a:gd name="T59" fmla="*/ 2147483647 h 98"/>
                <a:gd name="T60" fmla="*/ 2147483647 w 85"/>
                <a:gd name="T61" fmla="*/ 2147483647 h 98"/>
                <a:gd name="T62" fmla="*/ 2147483647 w 85"/>
                <a:gd name="T63" fmla="*/ 2147483647 h 98"/>
                <a:gd name="T64" fmla="*/ 2147483647 w 85"/>
                <a:gd name="T65" fmla="*/ 2147483647 h 98"/>
                <a:gd name="T66" fmla="*/ 2147483647 w 85"/>
                <a:gd name="T67" fmla="*/ 2147483647 h 98"/>
                <a:gd name="T68" fmla="*/ 2147483647 w 85"/>
                <a:gd name="T69" fmla="*/ 2147483647 h 98"/>
                <a:gd name="T70" fmla="*/ 2147483647 w 85"/>
                <a:gd name="T71" fmla="*/ 2147483647 h 98"/>
                <a:gd name="T72" fmla="*/ 2147483647 w 85"/>
                <a:gd name="T73" fmla="*/ 2147483647 h 98"/>
                <a:gd name="T74" fmla="*/ 2147483647 w 85"/>
                <a:gd name="T75" fmla="*/ 2147483647 h 98"/>
                <a:gd name="T76" fmla="*/ 2147483647 w 85"/>
                <a:gd name="T77" fmla="*/ 2147483647 h 98"/>
                <a:gd name="T78" fmla="*/ 2147483647 w 85"/>
                <a:gd name="T79" fmla="*/ 2147483647 h 98"/>
                <a:gd name="T80" fmla="*/ 2147483647 w 85"/>
                <a:gd name="T81" fmla="*/ 2147483647 h 98"/>
                <a:gd name="T82" fmla="*/ 2147483647 w 85"/>
                <a:gd name="T83" fmla="*/ 2147483647 h 98"/>
                <a:gd name="T84" fmla="*/ 2147483647 w 85"/>
                <a:gd name="T85" fmla="*/ 2147483647 h 98"/>
                <a:gd name="T86" fmla="*/ 2147483647 w 85"/>
                <a:gd name="T87" fmla="*/ 2147483647 h 98"/>
                <a:gd name="T88" fmla="*/ 2147483647 w 85"/>
                <a:gd name="T89" fmla="*/ 2147483647 h 98"/>
                <a:gd name="T90" fmla="*/ 2147483647 w 85"/>
                <a:gd name="T91" fmla="*/ 2147483647 h 98"/>
                <a:gd name="T92" fmla="*/ 2147483647 w 85"/>
                <a:gd name="T93" fmla="*/ 2147483647 h 98"/>
                <a:gd name="T94" fmla="*/ 2147483647 w 85"/>
                <a:gd name="T95" fmla="*/ 2147483647 h 98"/>
                <a:gd name="T96" fmla="*/ 2147483647 w 85"/>
                <a:gd name="T97" fmla="*/ 2147483647 h 98"/>
                <a:gd name="T98" fmla="*/ 2147483647 w 85"/>
                <a:gd name="T99" fmla="*/ 2147483647 h 98"/>
                <a:gd name="T100" fmla="*/ 2147483647 w 85"/>
                <a:gd name="T101" fmla="*/ 2147483647 h 98"/>
                <a:gd name="T102" fmla="*/ 2147483647 w 85"/>
                <a:gd name="T103" fmla="*/ 2147483647 h 98"/>
                <a:gd name="T104" fmla="*/ 2147483647 w 85"/>
                <a:gd name="T105" fmla="*/ 2147483647 h 98"/>
                <a:gd name="T106" fmla="*/ 2147483647 w 85"/>
                <a:gd name="T107" fmla="*/ 2147483647 h 98"/>
                <a:gd name="T108" fmla="*/ 2147483647 w 85"/>
                <a:gd name="T109" fmla="*/ 2147483647 h 98"/>
                <a:gd name="T110" fmla="*/ 2147483647 w 85"/>
                <a:gd name="T111" fmla="*/ 2147483647 h 98"/>
                <a:gd name="T112" fmla="*/ 2147483647 w 85"/>
                <a:gd name="T113" fmla="*/ 2147483647 h 98"/>
                <a:gd name="T114" fmla="*/ 2147483647 w 85"/>
                <a:gd name="T115" fmla="*/ 2147483647 h 98"/>
                <a:gd name="T116" fmla="*/ 2147483647 w 85"/>
                <a:gd name="T117" fmla="*/ 2147483647 h 98"/>
                <a:gd name="T118" fmla="*/ 2147483647 w 85"/>
                <a:gd name="T119" fmla="*/ 2147483647 h 98"/>
                <a:gd name="T120" fmla="*/ 2147483647 w 85"/>
                <a:gd name="T121" fmla="*/ 2147483647 h 98"/>
                <a:gd name="T122" fmla="*/ 2147483647 w 85"/>
                <a:gd name="T123" fmla="*/ 2147483647 h 98"/>
                <a:gd name="T124" fmla="*/ 2147483647 w 85"/>
                <a:gd name="T125" fmla="*/ 2147483647 h 9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5"/>
                <a:gd name="T190" fmla="*/ 0 h 98"/>
                <a:gd name="T191" fmla="*/ 85 w 85"/>
                <a:gd name="T192" fmla="*/ 98 h 9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5" h="98">
                  <a:moveTo>
                    <a:pt x="4" y="4"/>
                  </a:moveTo>
                  <a:lnTo>
                    <a:pt x="0" y="9"/>
                  </a:lnTo>
                  <a:lnTo>
                    <a:pt x="9" y="9"/>
                  </a:lnTo>
                  <a:lnTo>
                    <a:pt x="13" y="9"/>
                  </a:lnTo>
                  <a:lnTo>
                    <a:pt x="13" y="4"/>
                  </a:lnTo>
                  <a:lnTo>
                    <a:pt x="4" y="4"/>
                  </a:lnTo>
                  <a:close/>
                  <a:moveTo>
                    <a:pt x="9" y="26"/>
                  </a:moveTo>
                  <a:lnTo>
                    <a:pt x="4" y="40"/>
                  </a:lnTo>
                  <a:lnTo>
                    <a:pt x="13" y="40"/>
                  </a:lnTo>
                  <a:lnTo>
                    <a:pt x="9" y="26"/>
                  </a:lnTo>
                  <a:close/>
                  <a:moveTo>
                    <a:pt x="18" y="26"/>
                  </a:moveTo>
                  <a:lnTo>
                    <a:pt x="18" y="35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18" y="26"/>
                  </a:lnTo>
                  <a:close/>
                  <a:moveTo>
                    <a:pt x="18" y="0"/>
                  </a:moveTo>
                  <a:lnTo>
                    <a:pt x="22" y="9"/>
                  </a:lnTo>
                  <a:lnTo>
                    <a:pt x="22" y="13"/>
                  </a:lnTo>
                  <a:lnTo>
                    <a:pt x="22" y="17"/>
                  </a:lnTo>
                  <a:lnTo>
                    <a:pt x="27" y="9"/>
                  </a:lnTo>
                  <a:lnTo>
                    <a:pt x="22" y="4"/>
                  </a:lnTo>
                  <a:lnTo>
                    <a:pt x="18" y="0"/>
                  </a:lnTo>
                  <a:close/>
                  <a:moveTo>
                    <a:pt x="18" y="53"/>
                  </a:moveTo>
                  <a:lnTo>
                    <a:pt x="18" y="44"/>
                  </a:lnTo>
                  <a:lnTo>
                    <a:pt x="13" y="44"/>
                  </a:lnTo>
                  <a:lnTo>
                    <a:pt x="13" y="53"/>
                  </a:lnTo>
                  <a:lnTo>
                    <a:pt x="18" y="53"/>
                  </a:lnTo>
                  <a:close/>
                  <a:moveTo>
                    <a:pt x="31" y="22"/>
                  </a:moveTo>
                  <a:lnTo>
                    <a:pt x="27" y="22"/>
                  </a:lnTo>
                  <a:lnTo>
                    <a:pt x="31" y="26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40" y="26"/>
                  </a:lnTo>
                  <a:lnTo>
                    <a:pt x="31" y="22"/>
                  </a:lnTo>
                  <a:close/>
                  <a:moveTo>
                    <a:pt x="45" y="35"/>
                  </a:moveTo>
                  <a:lnTo>
                    <a:pt x="49" y="44"/>
                  </a:lnTo>
                  <a:lnTo>
                    <a:pt x="45" y="49"/>
                  </a:lnTo>
                  <a:lnTo>
                    <a:pt x="53" y="49"/>
                  </a:lnTo>
                  <a:lnTo>
                    <a:pt x="49" y="44"/>
                  </a:lnTo>
                  <a:lnTo>
                    <a:pt x="45" y="35"/>
                  </a:lnTo>
                  <a:close/>
                  <a:moveTo>
                    <a:pt x="49" y="53"/>
                  </a:moveTo>
                  <a:lnTo>
                    <a:pt x="49" y="53"/>
                  </a:lnTo>
                  <a:lnTo>
                    <a:pt x="49" y="62"/>
                  </a:lnTo>
                  <a:lnTo>
                    <a:pt x="58" y="67"/>
                  </a:lnTo>
                  <a:lnTo>
                    <a:pt x="53" y="58"/>
                  </a:lnTo>
                  <a:lnTo>
                    <a:pt x="49" y="53"/>
                  </a:lnTo>
                  <a:close/>
                  <a:moveTo>
                    <a:pt x="62" y="62"/>
                  </a:moveTo>
                  <a:lnTo>
                    <a:pt x="62" y="67"/>
                  </a:lnTo>
                  <a:lnTo>
                    <a:pt x="67" y="67"/>
                  </a:lnTo>
                  <a:lnTo>
                    <a:pt x="67" y="71"/>
                  </a:lnTo>
                  <a:lnTo>
                    <a:pt x="67" y="80"/>
                  </a:lnTo>
                  <a:lnTo>
                    <a:pt x="71" y="71"/>
                  </a:lnTo>
                  <a:lnTo>
                    <a:pt x="71" y="67"/>
                  </a:lnTo>
                  <a:lnTo>
                    <a:pt x="67" y="67"/>
                  </a:lnTo>
                  <a:lnTo>
                    <a:pt x="62" y="62"/>
                  </a:lnTo>
                  <a:close/>
                  <a:moveTo>
                    <a:pt x="71" y="93"/>
                  </a:moveTo>
                  <a:lnTo>
                    <a:pt x="80" y="98"/>
                  </a:lnTo>
                  <a:lnTo>
                    <a:pt x="85" y="89"/>
                  </a:lnTo>
                  <a:lnTo>
                    <a:pt x="76" y="89"/>
                  </a:lnTo>
                  <a:lnTo>
                    <a:pt x="71" y="9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0" name="Freeform 264"/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2771775" y="4735513"/>
              <a:ext cx="6350" cy="11112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2147483647 h 9"/>
                <a:gd name="T4" fmla="*/ 0 w 4"/>
                <a:gd name="T5" fmla="*/ 2147483647 h 9"/>
                <a:gd name="T6" fmla="*/ 2147483647 w 4"/>
                <a:gd name="T7" fmla="*/ 2147483647 h 9"/>
                <a:gd name="T8" fmla="*/ 0 w 4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0" y="0"/>
                  </a:moveTo>
                  <a:lnTo>
                    <a:pt x="0" y="4"/>
                  </a:lnTo>
                  <a:lnTo>
                    <a:pt x="0" y="9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1" name="Freeform 265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2576513" y="5148263"/>
              <a:ext cx="231775" cy="244475"/>
            </a:xfrm>
            <a:custGeom>
              <a:avLst/>
              <a:gdLst>
                <a:gd name="T0" fmla="*/ 0 w 170"/>
                <a:gd name="T1" fmla="*/ 2147483647 h 201"/>
                <a:gd name="T2" fmla="*/ 2147483647 w 170"/>
                <a:gd name="T3" fmla="*/ 2147483647 h 201"/>
                <a:gd name="T4" fmla="*/ 2147483647 w 170"/>
                <a:gd name="T5" fmla="*/ 2147483647 h 201"/>
                <a:gd name="T6" fmla="*/ 2147483647 w 170"/>
                <a:gd name="T7" fmla="*/ 2147483647 h 201"/>
                <a:gd name="T8" fmla="*/ 2147483647 w 170"/>
                <a:gd name="T9" fmla="*/ 2147483647 h 201"/>
                <a:gd name="T10" fmla="*/ 2147483647 w 170"/>
                <a:gd name="T11" fmla="*/ 2147483647 h 201"/>
                <a:gd name="T12" fmla="*/ 2147483647 w 170"/>
                <a:gd name="T13" fmla="*/ 2147483647 h 201"/>
                <a:gd name="T14" fmla="*/ 2147483647 w 170"/>
                <a:gd name="T15" fmla="*/ 2147483647 h 201"/>
                <a:gd name="T16" fmla="*/ 2147483647 w 170"/>
                <a:gd name="T17" fmla="*/ 2147483647 h 201"/>
                <a:gd name="T18" fmla="*/ 2147483647 w 170"/>
                <a:gd name="T19" fmla="*/ 2147483647 h 201"/>
                <a:gd name="T20" fmla="*/ 2147483647 w 170"/>
                <a:gd name="T21" fmla="*/ 2147483647 h 201"/>
                <a:gd name="T22" fmla="*/ 2147483647 w 170"/>
                <a:gd name="T23" fmla="*/ 2147483647 h 201"/>
                <a:gd name="T24" fmla="*/ 2147483647 w 170"/>
                <a:gd name="T25" fmla="*/ 2147483647 h 201"/>
                <a:gd name="T26" fmla="*/ 2147483647 w 170"/>
                <a:gd name="T27" fmla="*/ 2147483647 h 201"/>
                <a:gd name="T28" fmla="*/ 2147483647 w 170"/>
                <a:gd name="T29" fmla="*/ 2147483647 h 201"/>
                <a:gd name="T30" fmla="*/ 2147483647 w 170"/>
                <a:gd name="T31" fmla="*/ 2147483647 h 201"/>
                <a:gd name="T32" fmla="*/ 2147483647 w 170"/>
                <a:gd name="T33" fmla="*/ 2147483647 h 201"/>
                <a:gd name="T34" fmla="*/ 2147483647 w 170"/>
                <a:gd name="T35" fmla="*/ 2147483647 h 201"/>
                <a:gd name="T36" fmla="*/ 2147483647 w 170"/>
                <a:gd name="T37" fmla="*/ 2147483647 h 201"/>
                <a:gd name="T38" fmla="*/ 2147483647 w 170"/>
                <a:gd name="T39" fmla="*/ 2147483647 h 201"/>
                <a:gd name="T40" fmla="*/ 2147483647 w 170"/>
                <a:gd name="T41" fmla="*/ 2147483647 h 201"/>
                <a:gd name="T42" fmla="*/ 2147483647 w 170"/>
                <a:gd name="T43" fmla="*/ 2147483647 h 201"/>
                <a:gd name="T44" fmla="*/ 2147483647 w 170"/>
                <a:gd name="T45" fmla="*/ 2147483647 h 201"/>
                <a:gd name="T46" fmla="*/ 2147483647 w 170"/>
                <a:gd name="T47" fmla="*/ 2147483647 h 201"/>
                <a:gd name="T48" fmla="*/ 2147483647 w 170"/>
                <a:gd name="T49" fmla="*/ 2147483647 h 201"/>
                <a:gd name="T50" fmla="*/ 2147483647 w 170"/>
                <a:gd name="T51" fmla="*/ 2147483647 h 201"/>
                <a:gd name="T52" fmla="*/ 2147483647 w 170"/>
                <a:gd name="T53" fmla="*/ 2147483647 h 201"/>
                <a:gd name="T54" fmla="*/ 2147483647 w 170"/>
                <a:gd name="T55" fmla="*/ 2147483647 h 201"/>
                <a:gd name="T56" fmla="*/ 2147483647 w 170"/>
                <a:gd name="T57" fmla="*/ 2147483647 h 201"/>
                <a:gd name="T58" fmla="*/ 2147483647 w 170"/>
                <a:gd name="T59" fmla="*/ 2147483647 h 201"/>
                <a:gd name="T60" fmla="*/ 2147483647 w 170"/>
                <a:gd name="T61" fmla="*/ 2147483647 h 201"/>
                <a:gd name="T62" fmla="*/ 2147483647 w 170"/>
                <a:gd name="T63" fmla="*/ 2147483647 h 201"/>
                <a:gd name="T64" fmla="*/ 2147483647 w 170"/>
                <a:gd name="T65" fmla="*/ 0 h 201"/>
                <a:gd name="T66" fmla="*/ 2147483647 w 170"/>
                <a:gd name="T67" fmla="*/ 2147483647 h 201"/>
                <a:gd name="T68" fmla="*/ 2147483647 w 170"/>
                <a:gd name="T69" fmla="*/ 2147483647 h 201"/>
                <a:gd name="T70" fmla="*/ 0 w 170"/>
                <a:gd name="T71" fmla="*/ 2147483647 h 201"/>
                <a:gd name="T72" fmla="*/ 2147483647 w 170"/>
                <a:gd name="T73" fmla="*/ 2147483647 h 201"/>
                <a:gd name="T74" fmla="*/ 2147483647 w 170"/>
                <a:gd name="T75" fmla="*/ 2147483647 h 201"/>
                <a:gd name="T76" fmla="*/ 2147483647 w 170"/>
                <a:gd name="T77" fmla="*/ 2147483647 h 201"/>
                <a:gd name="T78" fmla="*/ 0 w 170"/>
                <a:gd name="T79" fmla="*/ 2147483647 h 201"/>
                <a:gd name="T80" fmla="*/ 2147483647 w 170"/>
                <a:gd name="T81" fmla="*/ 2147483647 h 201"/>
                <a:gd name="T82" fmla="*/ 0 w 170"/>
                <a:gd name="T83" fmla="*/ 2147483647 h 201"/>
                <a:gd name="T84" fmla="*/ 0 w 170"/>
                <a:gd name="T85" fmla="*/ 2147483647 h 20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0"/>
                <a:gd name="T130" fmla="*/ 0 h 201"/>
                <a:gd name="T131" fmla="*/ 170 w 170"/>
                <a:gd name="T132" fmla="*/ 201 h 20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0" h="201">
                  <a:moveTo>
                    <a:pt x="0" y="121"/>
                  </a:moveTo>
                  <a:lnTo>
                    <a:pt x="4" y="130"/>
                  </a:lnTo>
                  <a:lnTo>
                    <a:pt x="9" y="143"/>
                  </a:lnTo>
                  <a:lnTo>
                    <a:pt x="9" y="161"/>
                  </a:lnTo>
                  <a:lnTo>
                    <a:pt x="22" y="197"/>
                  </a:lnTo>
                  <a:lnTo>
                    <a:pt x="31" y="201"/>
                  </a:lnTo>
                  <a:lnTo>
                    <a:pt x="45" y="188"/>
                  </a:lnTo>
                  <a:lnTo>
                    <a:pt x="67" y="192"/>
                  </a:lnTo>
                  <a:lnTo>
                    <a:pt x="76" y="201"/>
                  </a:lnTo>
                  <a:lnTo>
                    <a:pt x="80" y="188"/>
                  </a:lnTo>
                  <a:lnTo>
                    <a:pt x="94" y="188"/>
                  </a:lnTo>
                  <a:lnTo>
                    <a:pt x="98" y="192"/>
                  </a:lnTo>
                  <a:lnTo>
                    <a:pt x="103" y="179"/>
                  </a:lnTo>
                  <a:lnTo>
                    <a:pt x="103" y="166"/>
                  </a:lnTo>
                  <a:lnTo>
                    <a:pt x="112" y="157"/>
                  </a:lnTo>
                  <a:lnTo>
                    <a:pt x="147" y="148"/>
                  </a:lnTo>
                  <a:lnTo>
                    <a:pt x="161" y="152"/>
                  </a:lnTo>
                  <a:lnTo>
                    <a:pt x="165" y="166"/>
                  </a:lnTo>
                  <a:lnTo>
                    <a:pt x="170" y="161"/>
                  </a:lnTo>
                  <a:lnTo>
                    <a:pt x="170" y="157"/>
                  </a:lnTo>
                  <a:lnTo>
                    <a:pt x="165" y="152"/>
                  </a:lnTo>
                  <a:lnTo>
                    <a:pt x="170" y="125"/>
                  </a:lnTo>
                  <a:lnTo>
                    <a:pt x="170" y="116"/>
                  </a:lnTo>
                  <a:lnTo>
                    <a:pt x="156" y="116"/>
                  </a:lnTo>
                  <a:lnTo>
                    <a:pt x="161" y="99"/>
                  </a:lnTo>
                  <a:lnTo>
                    <a:pt x="134" y="99"/>
                  </a:lnTo>
                  <a:lnTo>
                    <a:pt x="129" y="85"/>
                  </a:lnTo>
                  <a:lnTo>
                    <a:pt x="134" y="67"/>
                  </a:lnTo>
                  <a:lnTo>
                    <a:pt x="129" y="58"/>
                  </a:lnTo>
                  <a:lnTo>
                    <a:pt x="116" y="58"/>
                  </a:lnTo>
                  <a:lnTo>
                    <a:pt x="80" y="40"/>
                  </a:lnTo>
                  <a:lnTo>
                    <a:pt x="62" y="32"/>
                  </a:lnTo>
                  <a:lnTo>
                    <a:pt x="62" y="0"/>
                  </a:lnTo>
                  <a:lnTo>
                    <a:pt x="40" y="5"/>
                  </a:lnTo>
                  <a:lnTo>
                    <a:pt x="13" y="23"/>
                  </a:lnTo>
                  <a:lnTo>
                    <a:pt x="0" y="23"/>
                  </a:lnTo>
                  <a:lnTo>
                    <a:pt x="9" y="40"/>
                  </a:lnTo>
                  <a:lnTo>
                    <a:pt x="4" y="49"/>
                  </a:lnTo>
                  <a:lnTo>
                    <a:pt x="4" y="72"/>
                  </a:lnTo>
                  <a:lnTo>
                    <a:pt x="0" y="94"/>
                  </a:lnTo>
                  <a:lnTo>
                    <a:pt x="4" y="99"/>
                  </a:lnTo>
                  <a:lnTo>
                    <a:pt x="0" y="112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2" name="Freeform 266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2484438" y="4881563"/>
              <a:ext cx="776287" cy="739775"/>
            </a:xfrm>
            <a:custGeom>
              <a:avLst/>
              <a:gdLst>
                <a:gd name="T0" fmla="*/ 2147483647 w 567"/>
                <a:gd name="T1" fmla="*/ 2147483647 h 608"/>
                <a:gd name="T2" fmla="*/ 2147483647 w 567"/>
                <a:gd name="T3" fmla="*/ 2147483647 h 608"/>
                <a:gd name="T4" fmla="*/ 2147483647 w 567"/>
                <a:gd name="T5" fmla="*/ 2147483647 h 608"/>
                <a:gd name="T6" fmla="*/ 2147483647 w 567"/>
                <a:gd name="T7" fmla="*/ 2147483647 h 608"/>
                <a:gd name="T8" fmla="*/ 2147483647 w 567"/>
                <a:gd name="T9" fmla="*/ 2147483647 h 608"/>
                <a:gd name="T10" fmla="*/ 2147483647 w 567"/>
                <a:gd name="T11" fmla="*/ 2147483647 h 608"/>
                <a:gd name="T12" fmla="*/ 2147483647 w 567"/>
                <a:gd name="T13" fmla="*/ 2147483647 h 608"/>
                <a:gd name="T14" fmla="*/ 2147483647 w 567"/>
                <a:gd name="T15" fmla="*/ 2147483647 h 608"/>
                <a:gd name="T16" fmla="*/ 2147483647 w 567"/>
                <a:gd name="T17" fmla="*/ 2147483647 h 608"/>
                <a:gd name="T18" fmla="*/ 2147483647 w 567"/>
                <a:gd name="T19" fmla="*/ 2147483647 h 608"/>
                <a:gd name="T20" fmla="*/ 2147483647 w 567"/>
                <a:gd name="T21" fmla="*/ 2147483647 h 608"/>
                <a:gd name="T22" fmla="*/ 2147483647 w 567"/>
                <a:gd name="T23" fmla="*/ 2147483647 h 608"/>
                <a:gd name="T24" fmla="*/ 2147483647 w 567"/>
                <a:gd name="T25" fmla="*/ 2147483647 h 608"/>
                <a:gd name="T26" fmla="*/ 2147483647 w 567"/>
                <a:gd name="T27" fmla="*/ 2147483647 h 608"/>
                <a:gd name="T28" fmla="*/ 2147483647 w 567"/>
                <a:gd name="T29" fmla="*/ 2147483647 h 608"/>
                <a:gd name="T30" fmla="*/ 2147483647 w 567"/>
                <a:gd name="T31" fmla="*/ 2147483647 h 608"/>
                <a:gd name="T32" fmla="*/ 2147483647 w 567"/>
                <a:gd name="T33" fmla="*/ 2147483647 h 608"/>
                <a:gd name="T34" fmla="*/ 2147483647 w 567"/>
                <a:gd name="T35" fmla="*/ 2147483647 h 608"/>
                <a:gd name="T36" fmla="*/ 2147483647 w 567"/>
                <a:gd name="T37" fmla="*/ 2147483647 h 608"/>
                <a:gd name="T38" fmla="*/ 2147483647 w 567"/>
                <a:gd name="T39" fmla="*/ 2147483647 h 608"/>
                <a:gd name="T40" fmla="*/ 2147483647 w 567"/>
                <a:gd name="T41" fmla="*/ 2147483647 h 608"/>
                <a:gd name="T42" fmla="*/ 2147483647 w 567"/>
                <a:gd name="T43" fmla="*/ 2147483647 h 608"/>
                <a:gd name="T44" fmla="*/ 2147483647 w 567"/>
                <a:gd name="T45" fmla="*/ 2147483647 h 608"/>
                <a:gd name="T46" fmla="*/ 2147483647 w 567"/>
                <a:gd name="T47" fmla="*/ 2147483647 h 608"/>
                <a:gd name="T48" fmla="*/ 2147483647 w 567"/>
                <a:gd name="T49" fmla="*/ 2147483647 h 608"/>
                <a:gd name="T50" fmla="*/ 2147483647 w 567"/>
                <a:gd name="T51" fmla="*/ 2147483647 h 608"/>
                <a:gd name="T52" fmla="*/ 2147483647 w 567"/>
                <a:gd name="T53" fmla="*/ 2147483647 h 608"/>
                <a:gd name="T54" fmla="*/ 2147483647 w 567"/>
                <a:gd name="T55" fmla="*/ 2147483647 h 608"/>
                <a:gd name="T56" fmla="*/ 2147483647 w 567"/>
                <a:gd name="T57" fmla="*/ 2147483647 h 608"/>
                <a:gd name="T58" fmla="*/ 2147483647 w 567"/>
                <a:gd name="T59" fmla="*/ 2147483647 h 608"/>
                <a:gd name="T60" fmla="*/ 2147483647 w 567"/>
                <a:gd name="T61" fmla="*/ 2147483647 h 608"/>
                <a:gd name="T62" fmla="*/ 2147483647 w 567"/>
                <a:gd name="T63" fmla="*/ 2147483647 h 608"/>
                <a:gd name="T64" fmla="*/ 2147483647 w 567"/>
                <a:gd name="T65" fmla="*/ 2147483647 h 608"/>
                <a:gd name="T66" fmla="*/ 2147483647 w 567"/>
                <a:gd name="T67" fmla="*/ 2147483647 h 608"/>
                <a:gd name="T68" fmla="*/ 2147483647 w 567"/>
                <a:gd name="T69" fmla="*/ 2147483647 h 608"/>
                <a:gd name="T70" fmla="*/ 2147483647 w 567"/>
                <a:gd name="T71" fmla="*/ 2147483647 h 608"/>
                <a:gd name="T72" fmla="*/ 2147483647 w 567"/>
                <a:gd name="T73" fmla="*/ 2147483647 h 608"/>
                <a:gd name="T74" fmla="*/ 2147483647 w 567"/>
                <a:gd name="T75" fmla="*/ 2147483647 h 608"/>
                <a:gd name="T76" fmla="*/ 2147483647 w 567"/>
                <a:gd name="T77" fmla="*/ 2147483647 h 608"/>
                <a:gd name="T78" fmla="*/ 2147483647 w 567"/>
                <a:gd name="T79" fmla="*/ 2147483647 h 608"/>
                <a:gd name="T80" fmla="*/ 2147483647 w 567"/>
                <a:gd name="T81" fmla="*/ 2147483647 h 608"/>
                <a:gd name="T82" fmla="*/ 2147483647 w 567"/>
                <a:gd name="T83" fmla="*/ 2147483647 h 608"/>
                <a:gd name="T84" fmla="*/ 2147483647 w 567"/>
                <a:gd name="T85" fmla="*/ 2147483647 h 608"/>
                <a:gd name="T86" fmla="*/ 2147483647 w 567"/>
                <a:gd name="T87" fmla="*/ 2147483647 h 608"/>
                <a:gd name="T88" fmla="*/ 2147483647 w 567"/>
                <a:gd name="T89" fmla="*/ 2147483647 h 608"/>
                <a:gd name="T90" fmla="*/ 2147483647 w 567"/>
                <a:gd name="T91" fmla="*/ 2147483647 h 608"/>
                <a:gd name="T92" fmla="*/ 2147483647 w 567"/>
                <a:gd name="T93" fmla="*/ 2147483647 h 608"/>
                <a:gd name="T94" fmla="*/ 2147483647 w 567"/>
                <a:gd name="T95" fmla="*/ 2147483647 h 60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67"/>
                <a:gd name="T145" fmla="*/ 0 h 608"/>
                <a:gd name="T146" fmla="*/ 567 w 567"/>
                <a:gd name="T147" fmla="*/ 608 h 60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67" h="608">
                  <a:moveTo>
                    <a:pt x="53" y="139"/>
                  </a:moveTo>
                  <a:lnTo>
                    <a:pt x="58" y="143"/>
                  </a:lnTo>
                  <a:lnTo>
                    <a:pt x="45" y="143"/>
                  </a:lnTo>
                  <a:lnTo>
                    <a:pt x="27" y="148"/>
                  </a:lnTo>
                  <a:lnTo>
                    <a:pt x="18" y="157"/>
                  </a:lnTo>
                  <a:lnTo>
                    <a:pt x="13" y="170"/>
                  </a:lnTo>
                  <a:lnTo>
                    <a:pt x="0" y="188"/>
                  </a:lnTo>
                  <a:lnTo>
                    <a:pt x="9" y="206"/>
                  </a:lnTo>
                  <a:lnTo>
                    <a:pt x="9" y="219"/>
                  </a:lnTo>
                  <a:lnTo>
                    <a:pt x="22" y="219"/>
                  </a:lnTo>
                  <a:lnTo>
                    <a:pt x="27" y="228"/>
                  </a:lnTo>
                  <a:lnTo>
                    <a:pt x="49" y="215"/>
                  </a:lnTo>
                  <a:lnTo>
                    <a:pt x="49" y="242"/>
                  </a:lnTo>
                  <a:lnTo>
                    <a:pt x="67" y="242"/>
                  </a:lnTo>
                  <a:lnTo>
                    <a:pt x="80" y="242"/>
                  </a:lnTo>
                  <a:lnTo>
                    <a:pt x="107" y="224"/>
                  </a:lnTo>
                  <a:lnTo>
                    <a:pt x="129" y="219"/>
                  </a:lnTo>
                  <a:lnTo>
                    <a:pt x="129" y="251"/>
                  </a:lnTo>
                  <a:lnTo>
                    <a:pt x="147" y="259"/>
                  </a:lnTo>
                  <a:lnTo>
                    <a:pt x="183" y="277"/>
                  </a:lnTo>
                  <a:lnTo>
                    <a:pt x="196" y="277"/>
                  </a:lnTo>
                  <a:lnTo>
                    <a:pt x="201" y="286"/>
                  </a:lnTo>
                  <a:lnTo>
                    <a:pt x="196" y="304"/>
                  </a:lnTo>
                  <a:lnTo>
                    <a:pt x="201" y="318"/>
                  </a:lnTo>
                  <a:lnTo>
                    <a:pt x="228" y="318"/>
                  </a:lnTo>
                  <a:lnTo>
                    <a:pt x="223" y="335"/>
                  </a:lnTo>
                  <a:lnTo>
                    <a:pt x="237" y="335"/>
                  </a:lnTo>
                  <a:lnTo>
                    <a:pt x="237" y="344"/>
                  </a:lnTo>
                  <a:lnTo>
                    <a:pt x="232" y="371"/>
                  </a:lnTo>
                  <a:lnTo>
                    <a:pt x="237" y="376"/>
                  </a:lnTo>
                  <a:lnTo>
                    <a:pt x="237" y="380"/>
                  </a:lnTo>
                  <a:lnTo>
                    <a:pt x="237" y="394"/>
                  </a:lnTo>
                  <a:lnTo>
                    <a:pt x="232" y="411"/>
                  </a:lnTo>
                  <a:lnTo>
                    <a:pt x="246" y="411"/>
                  </a:lnTo>
                  <a:lnTo>
                    <a:pt x="259" y="407"/>
                  </a:lnTo>
                  <a:lnTo>
                    <a:pt x="268" y="416"/>
                  </a:lnTo>
                  <a:lnTo>
                    <a:pt x="268" y="443"/>
                  </a:lnTo>
                  <a:lnTo>
                    <a:pt x="281" y="438"/>
                  </a:lnTo>
                  <a:lnTo>
                    <a:pt x="286" y="443"/>
                  </a:lnTo>
                  <a:lnTo>
                    <a:pt x="281" y="461"/>
                  </a:lnTo>
                  <a:lnTo>
                    <a:pt x="286" y="465"/>
                  </a:lnTo>
                  <a:lnTo>
                    <a:pt x="295" y="465"/>
                  </a:lnTo>
                  <a:lnTo>
                    <a:pt x="295" y="487"/>
                  </a:lnTo>
                  <a:lnTo>
                    <a:pt x="277" y="501"/>
                  </a:lnTo>
                  <a:lnTo>
                    <a:pt x="241" y="537"/>
                  </a:lnTo>
                  <a:lnTo>
                    <a:pt x="241" y="541"/>
                  </a:lnTo>
                  <a:lnTo>
                    <a:pt x="250" y="541"/>
                  </a:lnTo>
                  <a:lnTo>
                    <a:pt x="259" y="554"/>
                  </a:lnTo>
                  <a:lnTo>
                    <a:pt x="268" y="550"/>
                  </a:lnTo>
                  <a:lnTo>
                    <a:pt x="277" y="563"/>
                  </a:lnTo>
                  <a:lnTo>
                    <a:pt x="290" y="568"/>
                  </a:lnTo>
                  <a:lnTo>
                    <a:pt x="299" y="586"/>
                  </a:lnTo>
                  <a:lnTo>
                    <a:pt x="295" y="595"/>
                  </a:lnTo>
                  <a:lnTo>
                    <a:pt x="295" y="608"/>
                  </a:lnTo>
                  <a:lnTo>
                    <a:pt x="308" y="599"/>
                  </a:lnTo>
                  <a:lnTo>
                    <a:pt x="317" y="577"/>
                  </a:lnTo>
                  <a:lnTo>
                    <a:pt x="362" y="514"/>
                  </a:lnTo>
                  <a:lnTo>
                    <a:pt x="366" y="501"/>
                  </a:lnTo>
                  <a:lnTo>
                    <a:pt x="371" y="465"/>
                  </a:lnTo>
                  <a:lnTo>
                    <a:pt x="366" y="461"/>
                  </a:lnTo>
                  <a:lnTo>
                    <a:pt x="375" y="461"/>
                  </a:lnTo>
                  <a:lnTo>
                    <a:pt x="397" y="443"/>
                  </a:lnTo>
                  <a:lnTo>
                    <a:pt x="415" y="443"/>
                  </a:lnTo>
                  <a:lnTo>
                    <a:pt x="415" y="434"/>
                  </a:lnTo>
                  <a:lnTo>
                    <a:pt x="447" y="425"/>
                  </a:lnTo>
                  <a:lnTo>
                    <a:pt x="464" y="420"/>
                  </a:lnTo>
                  <a:lnTo>
                    <a:pt x="464" y="416"/>
                  </a:lnTo>
                  <a:lnTo>
                    <a:pt x="473" y="411"/>
                  </a:lnTo>
                  <a:lnTo>
                    <a:pt x="496" y="367"/>
                  </a:lnTo>
                  <a:lnTo>
                    <a:pt x="496" y="349"/>
                  </a:lnTo>
                  <a:lnTo>
                    <a:pt x="505" y="340"/>
                  </a:lnTo>
                  <a:lnTo>
                    <a:pt x="505" y="277"/>
                  </a:lnTo>
                  <a:lnTo>
                    <a:pt x="509" y="264"/>
                  </a:lnTo>
                  <a:lnTo>
                    <a:pt x="514" y="268"/>
                  </a:lnTo>
                  <a:lnTo>
                    <a:pt x="531" y="237"/>
                  </a:lnTo>
                  <a:lnTo>
                    <a:pt x="540" y="237"/>
                  </a:lnTo>
                  <a:lnTo>
                    <a:pt x="567" y="197"/>
                  </a:lnTo>
                  <a:lnTo>
                    <a:pt x="567" y="184"/>
                  </a:lnTo>
                  <a:lnTo>
                    <a:pt x="558" y="152"/>
                  </a:lnTo>
                  <a:lnTo>
                    <a:pt x="536" y="152"/>
                  </a:lnTo>
                  <a:lnTo>
                    <a:pt x="527" y="143"/>
                  </a:lnTo>
                  <a:lnTo>
                    <a:pt x="523" y="143"/>
                  </a:lnTo>
                  <a:lnTo>
                    <a:pt x="500" y="121"/>
                  </a:lnTo>
                  <a:lnTo>
                    <a:pt x="487" y="116"/>
                  </a:lnTo>
                  <a:lnTo>
                    <a:pt x="460" y="116"/>
                  </a:lnTo>
                  <a:lnTo>
                    <a:pt x="438" y="112"/>
                  </a:lnTo>
                  <a:lnTo>
                    <a:pt x="424" y="116"/>
                  </a:lnTo>
                  <a:lnTo>
                    <a:pt x="424" y="103"/>
                  </a:lnTo>
                  <a:lnTo>
                    <a:pt x="420" y="94"/>
                  </a:lnTo>
                  <a:lnTo>
                    <a:pt x="411" y="103"/>
                  </a:lnTo>
                  <a:lnTo>
                    <a:pt x="406" y="94"/>
                  </a:lnTo>
                  <a:lnTo>
                    <a:pt x="375" y="90"/>
                  </a:lnTo>
                  <a:lnTo>
                    <a:pt x="357" y="103"/>
                  </a:lnTo>
                  <a:lnTo>
                    <a:pt x="348" y="116"/>
                  </a:lnTo>
                  <a:lnTo>
                    <a:pt x="353" y="99"/>
                  </a:lnTo>
                  <a:lnTo>
                    <a:pt x="357" y="94"/>
                  </a:lnTo>
                  <a:lnTo>
                    <a:pt x="366" y="85"/>
                  </a:lnTo>
                  <a:lnTo>
                    <a:pt x="339" y="81"/>
                  </a:lnTo>
                  <a:lnTo>
                    <a:pt x="335" y="76"/>
                  </a:lnTo>
                  <a:lnTo>
                    <a:pt x="353" y="76"/>
                  </a:lnTo>
                  <a:lnTo>
                    <a:pt x="344" y="72"/>
                  </a:lnTo>
                  <a:lnTo>
                    <a:pt x="348" y="49"/>
                  </a:lnTo>
                  <a:lnTo>
                    <a:pt x="335" y="45"/>
                  </a:lnTo>
                  <a:lnTo>
                    <a:pt x="330" y="18"/>
                  </a:lnTo>
                  <a:lnTo>
                    <a:pt x="321" y="14"/>
                  </a:lnTo>
                  <a:lnTo>
                    <a:pt x="321" y="23"/>
                  </a:lnTo>
                  <a:lnTo>
                    <a:pt x="313" y="41"/>
                  </a:lnTo>
                  <a:lnTo>
                    <a:pt x="299" y="49"/>
                  </a:lnTo>
                  <a:lnTo>
                    <a:pt x="286" y="49"/>
                  </a:lnTo>
                  <a:lnTo>
                    <a:pt x="277" y="41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4" y="49"/>
                  </a:lnTo>
                  <a:lnTo>
                    <a:pt x="228" y="54"/>
                  </a:lnTo>
                  <a:lnTo>
                    <a:pt x="219" y="63"/>
                  </a:lnTo>
                  <a:lnTo>
                    <a:pt x="210" y="58"/>
                  </a:lnTo>
                  <a:lnTo>
                    <a:pt x="201" y="45"/>
                  </a:lnTo>
                  <a:lnTo>
                    <a:pt x="201" y="23"/>
                  </a:lnTo>
                  <a:lnTo>
                    <a:pt x="210" y="14"/>
                  </a:lnTo>
                  <a:lnTo>
                    <a:pt x="201" y="14"/>
                  </a:lnTo>
                  <a:lnTo>
                    <a:pt x="201" y="0"/>
                  </a:lnTo>
                  <a:lnTo>
                    <a:pt x="192" y="0"/>
                  </a:lnTo>
                  <a:lnTo>
                    <a:pt x="192" y="14"/>
                  </a:lnTo>
                  <a:lnTo>
                    <a:pt x="161" y="18"/>
                  </a:lnTo>
                  <a:lnTo>
                    <a:pt x="147" y="18"/>
                  </a:lnTo>
                  <a:lnTo>
                    <a:pt x="134" y="9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38" y="41"/>
                  </a:lnTo>
                  <a:lnTo>
                    <a:pt x="152" y="45"/>
                  </a:lnTo>
                  <a:lnTo>
                    <a:pt x="143" y="45"/>
                  </a:lnTo>
                  <a:lnTo>
                    <a:pt x="134" y="54"/>
                  </a:lnTo>
                  <a:lnTo>
                    <a:pt x="112" y="63"/>
                  </a:lnTo>
                  <a:lnTo>
                    <a:pt x="103" y="58"/>
                  </a:lnTo>
                  <a:lnTo>
                    <a:pt x="94" y="58"/>
                  </a:lnTo>
                  <a:lnTo>
                    <a:pt x="94" y="45"/>
                  </a:lnTo>
                  <a:lnTo>
                    <a:pt x="80" y="54"/>
                  </a:lnTo>
                  <a:lnTo>
                    <a:pt x="62" y="54"/>
                  </a:lnTo>
                  <a:lnTo>
                    <a:pt x="58" y="67"/>
                  </a:lnTo>
                  <a:lnTo>
                    <a:pt x="71" y="67"/>
                  </a:lnTo>
                  <a:lnTo>
                    <a:pt x="67" y="76"/>
                  </a:lnTo>
                  <a:lnTo>
                    <a:pt x="53" y="76"/>
                  </a:lnTo>
                  <a:lnTo>
                    <a:pt x="58" y="85"/>
                  </a:lnTo>
                  <a:lnTo>
                    <a:pt x="67" y="85"/>
                  </a:lnTo>
                  <a:lnTo>
                    <a:pt x="71" y="94"/>
                  </a:lnTo>
                  <a:lnTo>
                    <a:pt x="53" y="13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3" name="Freeform 267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2179638" y="4641850"/>
              <a:ext cx="30162" cy="49213"/>
            </a:xfrm>
            <a:custGeom>
              <a:avLst/>
              <a:gdLst>
                <a:gd name="T0" fmla="*/ 2147483647 w 22"/>
                <a:gd name="T1" fmla="*/ 2147483647 h 40"/>
                <a:gd name="T2" fmla="*/ 0 w 22"/>
                <a:gd name="T3" fmla="*/ 2147483647 h 40"/>
                <a:gd name="T4" fmla="*/ 2147483647 w 22"/>
                <a:gd name="T5" fmla="*/ 2147483647 h 40"/>
                <a:gd name="T6" fmla="*/ 2147483647 w 22"/>
                <a:gd name="T7" fmla="*/ 2147483647 h 40"/>
                <a:gd name="T8" fmla="*/ 2147483647 w 22"/>
                <a:gd name="T9" fmla="*/ 2147483647 h 40"/>
                <a:gd name="T10" fmla="*/ 2147483647 w 22"/>
                <a:gd name="T11" fmla="*/ 2147483647 h 40"/>
                <a:gd name="T12" fmla="*/ 2147483647 w 22"/>
                <a:gd name="T13" fmla="*/ 2147483647 h 40"/>
                <a:gd name="T14" fmla="*/ 2147483647 w 22"/>
                <a:gd name="T15" fmla="*/ 2147483647 h 40"/>
                <a:gd name="T16" fmla="*/ 2147483647 w 22"/>
                <a:gd name="T17" fmla="*/ 0 h 40"/>
                <a:gd name="T18" fmla="*/ 2147483647 w 22"/>
                <a:gd name="T19" fmla="*/ 2147483647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"/>
                <a:gd name="T31" fmla="*/ 0 h 40"/>
                <a:gd name="T32" fmla="*/ 22 w 22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" h="40">
                  <a:moveTo>
                    <a:pt x="4" y="9"/>
                  </a:moveTo>
                  <a:lnTo>
                    <a:pt x="0" y="26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13" y="35"/>
                  </a:lnTo>
                  <a:lnTo>
                    <a:pt x="17" y="31"/>
                  </a:lnTo>
                  <a:lnTo>
                    <a:pt x="22" y="26"/>
                  </a:lnTo>
                  <a:lnTo>
                    <a:pt x="17" y="4"/>
                  </a:lnTo>
                  <a:lnTo>
                    <a:pt x="13" y="0"/>
                  </a:lnTo>
                  <a:lnTo>
                    <a:pt x="4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4" name="Freeform 268"/>
            <p:cNvSpPr>
              <a:spLocks noEditPoints="1"/>
            </p:cNvSpPr>
            <p:nvPr>
              <p:custDataLst>
                <p:tags r:id="rId24"/>
              </p:custDataLst>
            </p:nvPr>
          </p:nvSpPr>
          <p:spPr bwMode="gray">
            <a:xfrm>
              <a:off x="1163638" y="2682875"/>
              <a:ext cx="1743075" cy="1463675"/>
            </a:xfrm>
            <a:custGeom>
              <a:avLst/>
              <a:gdLst>
                <a:gd name="T0" fmla="*/ 2147483647 w 1273"/>
                <a:gd name="T1" fmla="*/ 2147483647 h 1202"/>
                <a:gd name="T2" fmla="*/ 2147483647 w 1273"/>
                <a:gd name="T3" fmla="*/ 2147483647 h 1202"/>
                <a:gd name="T4" fmla="*/ 2147483647 w 1273"/>
                <a:gd name="T5" fmla="*/ 2147483647 h 1202"/>
                <a:gd name="T6" fmla="*/ 2147483647 w 1273"/>
                <a:gd name="T7" fmla="*/ 2147483647 h 1202"/>
                <a:gd name="T8" fmla="*/ 2147483647 w 1273"/>
                <a:gd name="T9" fmla="*/ 2147483647 h 1202"/>
                <a:gd name="T10" fmla="*/ 2147483647 w 1273"/>
                <a:gd name="T11" fmla="*/ 2147483647 h 1202"/>
                <a:gd name="T12" fmla="*/ 2147483647 w 1273"/>
                <a:gd name="T13" fmla="*/ 2147483647 h 1202"/>
                <a:gd name="T14" fmla="*/ 2147483647 w 1273"/>
                <a:gd name="T15" fmla="*/ 2147483647 h 1202"/>
                <a:gd name="T16" fmla="*/ 2147483647 w 1273"/>
                <a:gd name="T17" fmla="*/ 2147483647 h 1202"/>
                <a:gd name="T18" fmla="*/ 2147483647 w 1273"/>
                <a:gd name="T19" fmla="*/ 2147483647 h 1202"/>
                <a:gd name="T20" fmla="*/ 2147483647 w 1273"/>
                <a:gd name="T21" fmla="*/ 2147483647 h 1202"/>
                <a:gd name="T22" fmla="*/ 2147483647 w 1273"/>
                <a:gd name="T23" fmla="*/ 2147483647 h 1202"/>
                <a:gd name="T24" fmla="*/ 2147483647 w 1273"/>
                <a:gd name="T25" fmla="*/ 2147483647 h 1202"/>
                <a:gd name="T26" fmla="*/ 2147483647 w 1273"/>
                <a:gd name="T27" fmla="*/ 2147483647 h 1202"/>
                <a:gd name="T28" fmla="*/ 2147483647 w 1273"/>
                <a:gd name="T29" fmla="*/ 2147483647 h 1202"/>
                <a:gd name="T30" fmla="*/ 2147483647 w 1273"/>
                <a:gd name="T31" fmla="*/ 2147483647 h 1202"/>
                <a:gd name="T32" fmla="*/ 2147483647 w 1273"/>
                <a:gd name="T33" fmla="*/ 2147483647 h 1202"/>
                <a:gd name="T34" fmla="*/ 2147483647 w 1273"/>
                <a:gd name="T35" fmla="*/ 2147483647 h 1202"/>
                <a:gd name="T36" fmla="*/ 2147483647 w 1273"/>
                <a:gd name="T37" fmla="*/ 2147483647 h 1202"/>
                <a:gd name="T38" fmla="*/ 2147483647 w 1273"/>
                <a:gd name="T39" fmla="*/ 2147483647 h 1202"/>
                <a:gd name="T40" fmla="*/ 2147483647 w 1273"/>
                <a:gd name="T41" fmla="*/ 2147483647 h 1202"/>
                <a:gd name="T42" fmla="*/ 2147483647 w 1273"/>
                <a:gd name="T43" fmla="*/ 2147483647 h 1202"/>
                <a:gd name="T44" fmla="*/ 2147483647 w 1273"/>
                <a:gd name="T45" fmla="*/ 2147483647 h 1202"/>
                <a:gd name="T46" fmla="*/ 2147483647 w 1273"/>
                <a:gd name="T47" fmla="*/ 2147483647 h 1202"/>
                <a:gd name="T48" fmla="*/ 2147483647 w 1273"/>
                <a:gd name="T49" fmla="*/ 2147483647 h 1202"/>
                <a:gd name="T50" fmla="*/ 2147483647 w 1273"/>
                <a:gd name="T51" fmla="*/ 2147483647 h 1202"/>
                <a:gd name="T52" fmla="*/ 2147483647 w 1273"/>
                <a:gd name="T53" fmla="*/ 2147483647 h 1202"/>
                <a:gd name="T54" fmla="*/ 2147483647 w 1273"/>
                <a:gd name="T55" fmla="*/ 2147483647 h 1202"/>
                <a:gd name="T56" fmla="*/ 2147483647 w 1273"/>
                <a:gd name="T57" fmla="*/ 2147483647 h 1202"/>
                <a:gd name="T58" fmla="*/ 2147483647 w 1273"/>
                <a:gd name="T59" fmla="*/ 2147483647 h 1202"/>
                <a:gd name="T60" fmla="*/ 2147483647 w 1273"/>
                <a:gd name="T61" fmla="*/ 2147483647 h 1202"/>
                <a:gd name="T62" fmla="*/ 2147483647 w 1273"/>
                <a:gd name="T63" fmla="*/ 2147483647 h 1202"/>
                <a:gd name="T64" fmla="*/ 2147483647 w 1273"/>
                <a:gd name="T65" fmla="*/ 2147483647 h 1202"/>
                <a:gd name="T66" fmla="*/ 2147483647 w 1273"/>
                <a:gd name="T67" fmla="*/ 2147483647 h 1202"/>
                <a:gd name="T68" fmla="*/ 2147483647 w 1273"/>
                <a:gd name="T69" fmla="*/ 2147483647 h 1202"/>
                <a:gd name="T70" fmla="*/ 2147483647 w 1273"/>
                <a:gd name="T71" fmla="*/ 2147483647 h 1202"/>
                <a:gd name="T72" fmla="*/ 2147483647 w 1273"/>
                <a:gd name="T73" fmla="*/ 2147483647 h 1202"/>
                <a:gd name="T74" fmla="*/ 2147483647 w 1273"/>
                <a:gd name="T75" fmla="*/ 2147483647 h 1202"/>
                <a:gd name="T76" fmla="*/ 2147483647 w 1273"/>
                <a:gd name="T77" fmla="*/ 2147483647 h 1202"/>
                <a:gd name="T78" fmla="*/ 2147483647 w 1273"/>
                <a:gd name="T79" fmla="*/ 2147483647 h 1202"/>
                <a:gd name="T80" fmla="*/ 2147483647 w 1273"/>
                <a:gd name="T81" fmla="*/ 2147483647 h 1202"/>
                <a:gd name="T82" fmla="*/ 2147483647 w 1273"/>
                <a:gd name="T83" fmla="*/ 2147483647 h 1202"/>
                <a:gd name="T84" fmla="*/ 2147483647 w 1273"/>
                <a:gd name="T85" fmla="*/ 2147483647 h 1202"/>
                <a:gd name="T86" fmla="*/ 2147483647 w 1273"/>
                <a:gd name="T87" fmla="*/ 2147483647 h 1202"/>
                <a:gd name="T88" fmla="*/ 2147483647 w 1273"/>
                <a:gd name="T89" fmla="*/ 2147483647 h 1202"/>
                <a:gd name="T90" fmla="*/ 2147483647 w 1273"/>
                <a:gd name="T91" fmla="*/ 2147483647 h 1202"/>
                <a:gd name="T92" fmla="*/ 2147483647 w 1273"/>
                <a:gd name="T93" fmla="*/ 2147483647 h 1202"/>
                <a:gd name="T94" fmla="*/ 2147483647 w 1273"/>
                <a:gd name="T95" fmla="*/ 2147483647 h 1202"/>
                <a:gd name="T96" fmla="*/ 2147483647 w 1273"/>
                <a:gd name="T97" fmla="*/ 2147483647 h 1202"/>
                <a:gd name="T98" fmla="*/ 2147483647 w 1273"/>
                <a:gd name="T99" fmla="*/ 2147483647 h 1202"/>
                <a:gd name="T100" fmla="*/ 2147483647 w 1273"/>
                <a:gd name="T101" fmla="*/ 2147483647 h 1202"/>
                <a:gd name="T102" fmla="*/ 2147483647 w 1273"/>
                <a:gd name="T103" fmla="*/ 2147483647 h 1202"/>
                <a:gd name="T104" fmla="*/ 2147483647 w 1273"/>
                <a:gd name="T105" fmla="*/ 2147483647 h 1202"/>
                <a:gd name="T106" fmla="*/ 2147483647 w 1273"/>
                <a:gd name="T107" fmla="*/ 2147483647 h 1202"/>
                <a:gd name="T108" fmla="*/ 2147483647 w 1273"/>
                <a:gd name="T109" fmla="*/ 2147483647 h 1202"/>
                <a:gd name="T110" fmla="*/ 2147483647 w 1273"/>
                <a:gd name="T111" fmla="*/ 2147483647 h 1202"/>
                <a:gd name="T112" fmla="*/ 2147483647 w 1273"/>
                <a:gd name="T113" fmla="*/ 2147483647 h 1202"/>
                <a:gd name="T114" fmla="*/ 2147483647 w 1273"/>
                <a:gd name="T115" fmla="*/ 2147483647 h 1202"/>
                <a:gd name="T116" fmla="*/ 2147483647 w 1273"/>
                <a:gd name="T117" fmla="*/ 2147483647 h 1202"/>
                <a:gd name="T118" fmla="*/ 2147483647 w 1273"/>
                <a:gd name="T119" fmla="*/ 2147483647 h 1202"/>
                <a:gd name="T120" fmla="*/ 2147483647 w 1273"/>
                <a:gd name="T121" fmla="*/ 2147483647 h 1202"/>
                <a:gd name="T122" fmla="*/ 2147483647 w 1273"/>
                <a:gd name="T123" fmla="*/ 2147483647 h 120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73"/>
                <a:gd name="T187" fmla="*/ 0 h 1202"/>
                <a:gd name="T188" fmla="*/ 1273 w 1273"/>
                <a:gd name="T189" fmla="*/ 1202 h 120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73" h="1202">
                  <a:moveTo>
                    <a:pt x="0" y="442"/>
                  </a:moveTo>
                  <a:lnTo>
                    <a:pt x="0" y="777"/>
                  </a:lnTo>
                  <a:lnTo>
                    <a:pt x="4" y="782"/>
                  </a:lnTo>
                  <a:lnTo>
                    <a:pt x="13" y="782"/>
                  </a:lnTo>
                  <a:lnTo>
                    <a:pt x="22" y="773"/>
                  </a:lnTo>
                  <a:lnTo>
                    <a:pt x="27" y="777"/>
                  </a:lnTo>
                  <a:lnTo>
                    <a:pt x="31" y="782"/>
                  </a:lnTo>
                  <a:lnTo>
                    <a:pt x="45" y="800"/>
                  </a:lnTo>
                  <a:lnTo>
                    <a:pt x="49" y="809"/>
                  </a:lnTo>
                  <a:lnTo>
                    <a:pt x="63" y="804"/>
                  </a:lnTo>
                  <a:lnTo>
                    <a:pt x="71" y="791"/>
                  </a:lnTo>
                  <a:lnTo>
                    <a:pt x="85" y="791"/>
                  </a:lnTo>
                  <a:lnTo>
                    <a:pt x="103" y="804"/>
                  </a:lnTo>
                  <a:lnTo>
                    <a:pt x="121" y="840"/>
                  </a:lnTo>
                  <a:lnTo>
                    <a:pt x="134" y="867"/>
                  </a:lnTo>
                  <a:lnTo>
                    <a:pt x="152" y="885"/>
                  </a:lnTo>
                  <a:lnTo>
                    <a:pt x="161" y="885"/>
                  </a:lnTo>
                  <a:lnTo>
                    <a:pt x="161" y="894"/>
                  </a:lnTo>
                  <a:lnTo>
                    <a:pt x="165" y="903"/>
                  </a:lnTo>
                  <a:lnTo>
                    <a:pt x="161" y="920"/>
                  </a:lnTo>
                  <a:lnTo>
                    <a:pt x="156" y="929"/>
                  </a:lnTo>
                  <a:lnTo>
                    <a:pt x="156" y="938"/>
                  </a:lnTo>
                  <a:lnTo>
                    <a:pt x="152" y="938"/>
                  </a:lnTo>
                  <a:lnTo>
                    <a:pt x="152" y="943"/>
                  </a:lnTo>
                  <a:lnTo>
                    <a:pt x="161" y="943"/>
                  </a:lnTo>
                  <a:lnTo>
                    <a:pt x="156" y="956"/>
                  </a:lnTo>
                  <a:lnTo>
                    <a:pt x="165" y="965"/>
                  </a:lnTo>
                  <a:lnTo>
                    <a:pt x="174" y="956"/>
                  </a:lnTo>
                  <a:lnTo>
                    <a:pt x="179" y="956"/>
                  </a:lnTo>
                  <a:lnTo>
                    <a:pt x="170" y="965"/>
                  </a:lnTo>
                  <a:lnTo>
                    <a:pt x="179" y="979"/>
                  </a:lnTo>
                  <a:lnTo>
                    <a:pt x="183" y="979"/>
                  </a:lnTo>
                  <a:lnTo>
                    <a:pt x="183" y="970"/>
                  </a:lnTo>
                  <a:lnTo>
                    <a:pt x="188" y="970"/>
                  </a:lnTo>
                  <a:lnTo>
                    <a:pt x="188" y="983"/>
                  </a:lnTo>
                  <a:lnTo>
                    <a:pt x="188" y="1001"/>
                  </a:lnTo>
                  <a:lnTo>
                    <a:pt x="197" y="1001"/>
                  </a:lnTo>
                  <a:lnTo>
                    <a:pt x="197" y="1005"/>
                  </a:lnTo>
                  <a:lnTo>
                    <a:pt x="206" y="1014"/>
                  </a:lnTo>
                  <a:lnTo>
                    <a:pt x="219" y="1023"/>
                  </a:lnTo>
                  <a:lnTo>
                    <a:pt x="237" y="1028"/>
                  </a:lnTo>
                  <a:lnTo>
                    <a:pt x="237" y="1037"/>
                  </a:lnTo>
                  <a:lnTo>
                    <a:pt x="246" y="1046"/>
                  </a:lnTo>
                  <a:lnTo>
                    <a:pt x="264" y="1055"/>
                  </a:lnTo>
                  <a:lnTo>
                    <a:pt x="268" y="1059"/>
                  </a:lnTo>
                  <a:lnTo>
                    <a:pt x="268" y="1063"/>
                  </a:lnTo>
                  <a:lnTo>
                    <a:pt x="657" y="1063"/>
                  </a:lnTo>
                  <a:lnTo>
                    <a:pt x="666" y="1059"/>
                  </a:lnTo>
                  <a:lnTo>
                    <a:pt x="670" y="1068"/>
                  </a:lnTo>
                  <a:lnTo>
                    <a:pt x="692" y="1068"/>
                  </a:lnTo>
                  <a:lnTo>
                    <a:pt x="701" y="1072"/>
                  </a:lnTo>
                  <a:lnTo>
                    <a:pt x="710" y="1081"/>
                  </a:lnTo>
                  <a:lnTo>
                    <a:pt x="724" y="1077"/>
                  </a:lnTo>
                  <a:lnTo>
                    <a:pt x="733" y="1081"/>
                  </a:lnTo>
                  <a:lnTo>
                    <a:pt x="750" y="1072"/>
                  </a:lnTo>
                  <a:lnTo>
                    <a:pt x="759" y="1068"/>
                  </a:lnTo>
                  <a:lnTo>
                    <a:pt x="764" y="1059"/>
                  </a:lnTo>
                  <a:lnTo>
                    <a:pt x="786" y="1063"/>
                  </a:lnTo>
                  <a:lnTo>
                    <a:pt x="795" y="1081"/>
                  </a:lnTo>
                  <a:lnTo>
                    <a:pt x="809" y="1081"/>
                  </a:lnTo>
                  <a:lnTo>
                    <a:pt x="809" y="1099"/>
                  </a:lnTo>
                  <a:lnTo>
                    <a:pt x="817" y="1113"/>
                  </a:lnTo>
                  <a:lnTo>
                    <a:pt x="826" y="1117"/>
                  </a:lnTo>
                  <a:lnTo>
                    <a:pt x="867" y="1122"/>
                  </a:lnTo>
                  <a:lnTo>
                    <a:pt x="889" y="1148"/>
                  </a:lnTo>
                  <a:lnTo>
                    <a:pt x="876" y="1144"/>
                  </a:lnTo>
                  <a:lnTo>
                    <a:pt x="880" y="1153"/>
                  </a:lnTo>
                  <a:lnTo>
                    <a:pt x="867" y="1148"/>
                  </a:lnTo>
                  <a:lnTo>
                    <a:pt x="858" y="1135"/>
                  </a:lnTo>
                  <a:lnTo>
                    <a:pt x="853" y="1135"/>
                  </a:lnTo>
                  <a:lnTo>
                    <a:pt x="862" y="1148"/>
                  </a:lnTo>
                  <a:lnTo>
                    <a:pt x="858" y="1162"/>
                  </a:lnTo>
                  <a:lnTo>
                    <a:pt x="858" y="1171"/>
                  </a:lnTo>
                  <a:lnTo>
                    <a:pt x="844" y="1189"/>
                  </a:lnTo>
                  <a:lnTo>
                    <a:pt x="844" y="1193"/>
                  </a:lnTo>
                  <a:lnTo>
                    <a:pt x="840" y="1198"/>
                  </a:lnTo>
                  <a:lnTo>
                    <a:pt x="844" y="1202"/>
                  </a:lnTo>
                  <a:lnTo>
                    <a:pt x="862" y="1189"/>
                  </a:lnTo>
                  <a:lnTo>
                    <a:pt x="876" y="1193"/>
                  </a:lnTo>
                  <a:lnTo>
                    <a:pt x="876" y="1189"/>
                  </a:lnTo>
                  <a:lnTo>
                    <a:pt x="893" y="1184"/>
                  </a:lnTo>
                  <a:lnTo>
                    <a:pt x="893" y="1180"/>
                  </a:lnTo>
                  <a:lnTo>
                    <a:pt x="880" y="1175"/>
                  </a:lnTo>
                  <a:lnTo>
                    <a:pt x="889" y="1171"/>
                  </a:lnTo>
                  <a:lnTo>
                    <a:pt x="911" y="1162"/>
                  </a:lnTo>
                  <a:lnTo>
                    <a:pt x="925" y="1166"/>
                  </a:lnTo>
                  <a:lnTo>
                    <a:pt x="929" y="1157"/>
                  </a:lnTo>
                  <a:lnTo>
                    <a:pt x="934" y="1157"/>
                  </a:lnTo>
                  <a:lnTo>
                    <a:pt x="992" y="1108"/>
                  </a:lnTo>
                  <a:lnTo>
                    <a:pt x="1014" y="1099"/>
                  </a:lnTo>
                  <a:lnTo>
                    <a:pt x="1032" y="1072"/>
                  </a:lnTo>
                  <a:lnTo>
                    <a:pt x="1041" y="1059"/>
                  </a:lnTo>
                  <a:lnTo>
                    <a:pt x="1063" y="1050"/>
                  </a:lnTo>
                  <a:lnTo>
                    <a:pt x="1072" y="1032"/>
                  </a:lnTo>
                  <a:lnTo>
                    <a:pt x="1170" y="1032"/>
                  </a:lnTo>
                  <a:lnTo>
                    <a:pt x="1193" y="1001"/>
                  </a:lnTo>
                  <a:lnTo>
                    <a:pt x="1215" y="996"/>
                  </a:lnTo>
                  <a:lnTo>
                    <a:pt x="1228" y="983"/>
                  </a:lnTo>
                  <a:lnTo>
                    <a:pt x="1228" y="974"/>
                  </a:lnTo>
                  <a:lnTo>
                    <a:pt x="1224" y="974"/>
                  </a:lnTo>
                  <a:lnTo>
                    <a:pt x="1228" y="965"/>
                  </a:lnTo>
                  <a:lnTo>
                    <a:pt x="1228" y="956"/>
                  </a:lnTo>
                  <a:lnTo>
                    <a:pt x="1219" y="943"/>
                  </a:lnTo>
                  <a:lnTo>
                    <a:pt x="1211" y="947"/>
                  </a:lnTo>
                  <a:lnTo>
                    <a:pt x="1202" y="952"/>
                  </a:lnTo>
                  <a:lnTo>
                    <a:pt x="1206" y="938"/>
                  </a:lnTo>
                  <a:lnTo>
                    <a:pt x="1206" y="934"/>
                  </a:lnTo>
                  <a:lnTo>
                    <a:pt x="1197" y="934"/>
                  </a:lnTo>
                  <a:lnTo>
                    <a:pt x="1170" y="956"/>
                  </a:lnTo>
                  <a:lnTo>
                    <a:pt x="1170" y="943"/>
                  </a:lnTo>
                  <a:lnTo>
                    <a:pt x="1184" y="938"/>
                  </a:lnTo>
                  <a:lnTo>
                    <a:pt x="1193" y="929"/>
                  </a:lnTo>
                  <a:lnTo>
                    <a:pt x="1197" y="925"/>
                  </a:lnTo>
                  <a:lnTo>
                    <a:pt x="1197" y="916"/>
                  </a:lnTo>
                  <a:lnTo>
                    <a:pt x="1184" y="925"/>
                  </a:lnTo>
                  <a:lnTo>
                    <a:pt x="1184" y="912"/>
                  </a:lnTo>
                  <a:lnTo>
                    <a:pt x="1161" y="912"/>
                  </a:lnTo>
                  <a:lnTo>
                    <a:pt x="1161" y="894"/>
                  </a:lnTo>
                  <a:lnTo>
                    <a:pt x="1139" y="885"/>
                  </a:lnTo>
                  <a:lnTo>
                    <a:pt x="1135" y="871"/>
                  </a:lnTo>
                  <a:lnTo>
                    <a:pt x="1148" y="871"/>
                  </a:lnTo>
                  <a:lnTo>
                    <a:pt x="1135" y="840"/>
                  </a:lnTo>
                  <a:lnTo>
                    <a:pt x="1126" y="836"/>
                  </a:lnTo>
                  <a:lnTo>
                    <a:pt x="1130" y="827"/>
                  </a:lnTo>
                  <a:lnTo>
                    <a:pt x="1117" y="822"/>
                  </a:lnTo>
                  <a:lnTo>
                    <a:pt x="1121" y="818"/>
                  </a:lnTo>
                  <a:lnTo>
                    <a:pt x="1094" y="769"/>
                  </a:lnTo>
                  <a:lnTo>
                    <a:pt x="1090" y="791"/>
                  </a:lnTo>
                  <a:lnTo>
                    <a:pt x="1081" y="809"/>
                  </a:lnTo>
                  <a:lnTo>
                    <a:pt x="1077" y="809"/>
                  </a:lnTo>
                  <a:lnTo>
                    <a:pt x="1059" y="831"/>
                  </a:lnTo>
                  <a:lnTo>
                    <a:pt x="1045" y="809"/>
                  </a:lnTo>
                  <a:lnTo>
                    <a:pt x="1027" y="813"/>
                  </a:lnTo>
                  <a:lnTo>
                    <a:pt x="1032" y="804"/>
                  </a:lnTo>
                  <a:lnTo>
                    <a:pt x="1027" y="800"/>
                  </a:lnTo>
                  <a:lnTo>
                    <a:pt x="1027" y="777"/>
                  </a:lnTo>
                  <a:lnTo>
                    <a:pt x="1023" y="764"/>
                  </a:lnTo>
                  <a:lnTo>
                    <a:pt x="1032" y="760"/>
                  </a:lnTo>
                  <a:lnTo>
                    <a:pt x="1027" y="751"/>
                  </a:lnTo>
                  <a:lnTo>
                    <a:pt x="1018" y="755"/>
                  </a:lnTo>
                  <a:lnTo>
                    <a:pt x="1001" y="746"/>
                  </a:lnTo>
                  <a:lnTo>
                    <a:pt x="987" y="715"/>
                  </a:lnTo>
                  <a:lnTo>
                    <a:pt x="969" y="702"/>
                  </a:lnTo>
                  <a:lnTo>
                    <a:pt x="956" y="710"/>
                  </a:lnTo>
                  <a:lnTo>
                    <a:pt x="911" y="697"/>
                  </a:lnTo>
                  <a:lnTo>
                    <a:pt x="902" y="706"/>
                  </a:lnTo>
                  <a:lnTo>
                    <a:pt x="902" y="719"/>
                  </a:lnTo>
                  <a:lnTo>
                    <a:pt x="907" y="733"/>
                  </a:lnTo>
                  <a:lnTo>
                    <a:pt x="902" y="760"/>
                  </a:lnTo>
                  <a:lnTo>
                    <a:pt x="907" y="760"/>
                  </a:lnTo>
                  <a:lnTo>
                    <a:pt x="911" y="782"/>
                  </a:lnTo>
                  <a:lnTo>
                    <a:pt x="920" y="782"/>
                  </a:lnTo>
                  <a:lnTo>
                    <a:pt x="898" y="809"/>
                  </a:lnTo>
                  <a:lnTo>
                    <a:pt x="898" y="818"/>
                  </a:lnTo>
                  <a:lnTo>
                    <a:pt x="902" y="822"/>
                  </a:lnTo>
                  <a:lnTo>
                    <a:pt x="925" y="849"/>
                  </a:lnTo>
                  <a:lnTo>
                    <a:pt x="929" y="880"/>
                  </a:lnTo>
                  <a:lnTo>
                    <a:pt x="902" y="912"/>
                  </a:lnTo>
                  <a:lnTo>
                    <a:pt x="880" y="920"/>
                  </a:lnTo>
                  <a:lnTo>
                    <a:pt x="898" y="938"/>
                  </a:lnTo>
                  <a:lnTo>
                    <a:pt x="893" y="961"/>
                  </a:lnTo>
                  <a:lnTo>
                    <a:pt x="902" y="979"/>
                  </a:lnTo>
                  <a:lnTo>
                    <a:pt x="898" y="988"/>
                  </a:lnTo>
                  <a:lnTo>
                    <a:pt x="902" y="1001"/>
                  </a:lnTo>
                  <a:lnTo>
                    <a:pt x="898" y="1005"/>
                  </a:lnTo>
                  <a:lnTo>
                    <a:pt x="889" y="996"/>
                  </a:lnTo>
                  <a:lnTo>
                    <a:pt x="880" y="1010"/>
                  </a:lnTo>
                  <a:lnTo>
                    <a:pt x="862" y="988"/>
                  </a:lnTo>
                  <a:lnTo>
                    <a:pt x="853" y="983"/>
                  </a:lnTo>
                  <a:lnTo>
                    <a:pt x="858" y="979"/>
                  </a:lnTo>
                  <a:lnTo>
                    <a:pt x="844" y="961"/>
                  </a:lnTo>
                  <a:lnTo>
                    <a:pt x="849" y="947"/>
                  </a:lnTo>
                  <a:lnTo>
                    <a:pt x="844" y="934"/>
                  </a:lnTo>
                  <a:lnTo>
                    <a:pt x="849" y="912"/>
                  </a:lnTo>
                  <a:lnTo>
                    <a:pt x="809" y="907"/>
                  </a:lnTo>
                  <a:lnTo>
                    <a:pt x="773" y="885"/>
                  </a:lnTo>
                  <a:lnTo>
                    <a:pt x="755" y="867"/>
                  </a:lnTo>
                  <a:lnTo>
                    <a:pt x="728" y="853"/>
                  </a:lnTo>
                  <a:lnTo>
                    <a:pt x="706" y="867"/>
                  </a:lnTo>
                  <a:lnTo>
                    <a:pt x="692" y="813"/>
                  </a:lnTo>
                  <a:lnTo>
                    <a:pt x="675" y="818"/>
                  </a:lnTo>
                  <a:lnTo>
                    <a:pt x="666" y="809"/>
                  </a:lnTo>
                  <a:lnTo>
                    <a:pt x="670" y="773"/>
                  </a:lnTo>
                  <a:lnTo>
                    <a:pt x="688" y="724"/>
                  </a:lnTo>
                  <a:lnTo>
                    <a:pt x="706" y="706"/>
                  </a:lnTo>
                  <a:lnTo>
                    <a:pt x="706" y="697"/>
                  </a:lnTo>
                  <a:lnTo>
                    <a:pt x="724" y="693"/>
                  </a:lnTo>
                  <a:lnTo>
                    <a:pt x="724" y="675"/>
                  </a:lnTo>
                  <a:lnTo>
                    <a:pt x="652" y="657"/>
                  </a:lnTo>
                  <a:lnTo>
                    <a:pt x="652" y="643"/>
                  </a:lnTo>
                  <a:lnTo>
                    <a:pt x="688" y="657"/>
                  </a:lnTo>
                  <a:lnTo>
                    <a:pt x="724" y="670"/>
                  </a:lnTo>
                  <a:lnTo>
                    <a:pt x="733" y="666"/>
                  </a:lnTo>
                  <a:lnTo>
                    <a:pt x="737" y="652"/>
                  </a:lnTo>
                  <a:lnTo>
                    <a:pt x="755" y="657"/>
                  </a:lnTo>
                  <a:lnTo>
                    <a:pt x="768" y="648"/>
                  </a:lnTo>
                  <a:lnTo>
                    <a:pt x="777" y="612"/>
                  </a:lnTo>
                  <a:lnTo>
                    <a:pt x="755" y="612"/>
                  </a:lnTo>
                  <a:lnTo>
                    <a:pt x="742" y="590"/>
                  </a:lnTo>
                  <a:lnTo>
                    <a:pt x="768" y="608"/>
                  </a:lnTo>
                  <a:lnTo>
                    <a:pt x="782" y="608"/>
                  </a:lnTo>
                  <a:lnTo>
                    <a:pt x="795" y="585"/>
                  </a:lnTo>
                  <a:lnTo>
                    <a:pt x="782" y="581"/>
                  </a:lnTo>
                  <a:lnTo>
                    <a:pt x="782" y="572"/>
                  </a:lnTo>
                  <a:lnTo>
                    <a:pt x="804" y="567"/>
                  </a:lnTo>
                  <a:lnTo>
                    <a:pt x="804" y="581"/>
                  </a:lnTo>
                  <a:lnTo>
                    <a:pt x="813" y="585"/>
                  </a:lnTo>
                  <a:lnTo>
                    <a:pt x="809" y="590"/>
                  </a:lnTo>
                  <a:lnTo>
                    <a:pt x="813" y="603"/>
                  </a:lnTo>
                  <a:lnTo>
                    <a:pt x="813" y="590"/>
                  </a:lnTo>
                  <a:lnTo>
                    <a:pt x="817" y="585"/>
                  </a:lnTo>
                  <a:lnTo>
                    <a:pt x="826" y="603"/>
                  </a:lnTo>
                  <a:lnTo>
                    <a:pt x="831" y="603"/>
                  </a:lnTo>
                  <a:lnTo>
                    <a:pt x="826" y="590"/>
                  </a:lnTo>
                  <a:lnTo>
                    <a:pt x="817" y="581"/>
                  </a:lnTo>
                  <a:lnTo>
                    <a:pt x="822" y="581"/>
                  </a:lnTo>
                  <a:lnTo>
                    <a:pt x="822" y="567"/>
                  </a:lnTo>
                  <a:lnTo>
                    <a:pt x="822" y="563"/>
                  </a:lnTo>
                  <a:lnTo>
                    <a:pt x="831" y="581"/>
                  </a:lnTo>
                  <a:lnTo>
                    <a:pt x="853" y="563"/>
                  </a:lnTo>
                  <a:lnTo>
                    <a:pt x="853" y="554"/>
                  </a:lnTo>
                  <a:lnTo>
                    <a:pt x="867" y="545"/>
                  </a:lnTo>
                  <a:lnTo>
                    <a:pt x="867" y="527"/>
                  </a:lnTo>
                  <a:lnTo>
                    <a:pt x="858" y="514"/>
                  </a:lnTo>
                  <a:lnTo>
                    <a:pt x="849" y="491"/>
                  </a:lnTo>
                  <a:lnTo>
                    <a:pt x="858" y="491"/>
                  </a:lnTo>
                  <a:lnTo>
                    <a:pt x="867" y="478"/>
                  </a:lnTo>
                  <a:lnTo>
                    <a:pt x="858" y="474"/>
                  </a:lnTo>
                  <a:lnTo>
                    <a:pt x="867" y="469"/>
                  </a:lnTo>
                  <a:lnTo>
                    <a:pt x="867" y="460"/>
                  </a:lnTo>
                  <a:lnTo>
                    <a:pt x="849" y="442"/>
                  </a:lnTo>
                  <a:lnTo>
                    <a:pt x="826" y="442"/>
                  </a:lnTo>
                  <a:lnTo>
                    <a:pt x="817" y="438"/>
                  </a:lnTo>
                  <a:lnTo>
                    <a:pt x="804" y="438"/>
                  </a:lnTo>
                  <a:lnTo>
                    <a:pt x="804" y="460"/>
                  </a:lnTo>
                  <a:lnTo>
                    <a:pt x="809" y="465"/>
                  </a:lnTo>
                  <a:lnTo>
                    <a:pt x="804" y="474"/>
                  </a:lnTo>
                  <a:lnTo>
                    <a:pt x="795" y="478"/>
                  </a:lnTo>
                  <a:lnTo>
                    <a:pt x="795" y="505"/>
                  </a:lnTo>
                  <a:lnTo>
                    <a:pt x="786" y="518"/>
                  </a:lnTo>
                  <a:lnTo>
                    <a:pt x="773" y="536"/>
                  </a:lnTo>
                  <a:lnTo>
                    <a:pt x="759" y="496"/>
                  </a:lnTo>
                  <a:lnTo>
                    <a:pt x="764" y="478"/>
                  </a:lnTo>
                  <a:lnTo>
                    <a:pt x="764" y="460"/>
                  </a:lnTo>
                  <a:lnTo>
                    <a:pt x="750" y="447"/>
                  </a:lnTo>
                  <a:lnTo>
                    <a:pt x="746" y="447"/>
                  </a:lnTo>
                  <a:lnTo>
                    <a:pt x="737" y="496"/>
                  </a:lnTo>
                  <a:lnTo>
                    <a:pt x="728" y="496"/>
                  </a:lnTo>
                  <a:lnTo>
                    <a:pt x="728" y="469"/>
                  </a:lnTo>
                  <a:lnTo>
                    <a:pt x="719" y="456"/>
                  </a:lnTo>
                  <a:lnTo>
                    <a:pt x="728" y="456"/>
                  </a:lnTo>
                  <a:lnTo>
                    <a:pt x="733" y="451"/>
                  </a:lnTo>
                  <a:lnTo>
                    <a:pt x="719" y="442"/>
                  </a:lnTo>
                  <a:lnTo>
                    <a:pt x="710" y="451"/>
                  </a:lnTo>
                  <a:lnTo>
                    <a:pt x="701" y="442"/>
                  </a:lnTo>
                  <a:lnTo>
                    <a:pt x="706" y="429"/>
                  </a:lnTo>
                  <a:lnTo>
                    <a:pt x="701" y="420"/>
                  </a:lnTo>
                  <a:lnTo>
                    <a:pt x="715" y="420"/>
                  </a:lnTo>
                  <a:lnTo>
                    <a:pt x="706" y="393"/>
                  </a:lnTo>
                  <a:lnTo>
                    <a:pt x="692" y="389"/>
                  </a:lnTo>
                  <a:lnTo>
                    <a:pt x="692" y="366"/>
                  </a:lnTo>
                  <a:lnTo>
                    <a:pt x="679" y="348"/>
                  </a:lnTo>
                  <a:lnTo>
                    <a:pt x="661" y="344"/>
                  </a:lnTo>
                  <a:lnTo>
                    <a:pt x="652" y="348"/>
                  </a:lnTo>
                  <a:lnTo>
                    <a:pt x="661" y="357"/>
                  </a:lnTo>
                  <a:lnTo>
                    <a:pt x="652" y="362"/>
                  </a:lnTo>
                  <a:lnTo>
                    <a:pt x="643" y="389"/>
                  </a:lnTo>
                  <a:lnTo>
                    <a:pt x="657" y="393"/>
                  </a:lnTo>
                  <a:lnTo>
                    <a:pt x="643" y="407"/>
                  </a:lnTo>
                  <a:lnTo>
                    <a:pt x="643" y="424"/>
                  </a:lnTo>
                  <a:lnTo>
                    <a:pt x="652" y="442"/>
                  </a:lnTo>
                  <a:lnTo>
                    <a:pt x="688" y="451"/>
                  </a:lnTo>
                  <a:lnTo>
                    <a:pt x="675" y="460"/>
                  </a:lnTo>
                  <a:lnTo>
                    <a:pt x="670" y="478"/>
                  </a:lnTo>
                  <a:lnTo>
                    <a:pt x="683" y="469"/>
                  </a:lnTo>
                  <a:lnTo>
                    <a:pt x="683" y="487"/>
                  </a:lnTo>
                  <a:lnTo>
                    <a:pt x="670" y="505"/>
                  </a:lnTo>
                  <a:lnTo>
                    <a:pt x="661" y="505"/>
                  </a:lnTo>
                  <a:lnTo>
                    <a:pt x="657" y="518"/>
                  </a:lnTo>
                  <a:lnTo>
                    <a:pt x="666" y="527"/>
                  </a:lnTo>
                  <a:lnTo>
                    <a:pt x="657" y="536"/>
                  </a:lnTo>
                  <a:lnTo>
                    <a:pt x="648" y="527"/>
                  </a:lnTo>
                  <a:lnTo>
                    <a:pt x="652" y="496"/>
                  </a:lnTo>
                  <a:lnTo>
                    <a:pt x="643" y="509"/>
                  </a:lnTo>
                  <a:lnTo>
                    <a:pt x="639" y="491"/>
                  </a:lnTo>
                  <a:lnTo>
                    <a:pt x="625" y="487"/>
                  </a:lnTo>
                  <a:lnTo>
                    <a:pt x="616" y="500"/>
                  </a:lnTo>
                  <a:lnTo>
                    <a:pt x="616" y="509"/>
                  </a:lnTo>
                  <a:lnTo>
                    <a:pt x="603" y="514"/>
                  </a:lnTo>
                  <a:lnTo>
                    <a:pt x="567" y="514"/>
                  </a:lnTo>
                  <a:lnTo>
                    <a:pt x="549" y="505"/>
                  </a:lnTo>
                  <a:lnTo>
                    <a:pt x="536" y="509"/>
                  </a:lnTo>
                  <a:lnTo>
                    <a:pt x="518" y="496"/>
                  </a:lnTo>
                  <a:lnTo>
                    <a:pt x="518" y="478"/>
                  </a:lnTo>
                  <a:lnTo>
                    <a:pt x="509" y="469"/>
                  </a:lnTo>
                  <a:lnTo>
                    <a:pt x="491" y="483"/>
                  </a:lnTo>
                  <a:lnTo>
                    <a:pt x="474" y="483"/>
                  </a:lnTo>
                  <a:lnTo>
                    <a:pt x="469" y="500"/>
                  </a:lnTo>
                  <a:lnTo>
                    <a:pt x="478" y="500"/>
                  </a:lnTo>
                  <a:lnTo>
                    <a:pt x="509" y="487"/>
                  </a:lnTo>
                  <a:lnTo>
                    <a:pt x="514" y="496"/>
                  </a:lnTo>
                  <a:lnTo>
                    <a:pt x="482" y="523"/>
                  </a:lnTo>
                  <a:lnTo>
                    <a:pt x="482" y="554"/>
                  </a:lnTo>
                  <a:lnTo>
                    <a:pt x="474" y="559"/>
                  </a:lnTo>
                  <a:lnTo>
                    <a:pt x="478" y="541"/>
                  </a:lnTo>
                  <a:lnTo>
                    <a:pt x="465" y="532"/>
                  </a:lnTo>
                  <a:lnTo>
                    <a:pt x="465" y="523"/>
                  </a:lnTo>
                  <a:lnTo>
                    <a:pt x="447" y="514"/>
                  </a:lnTo>
                  <a:lnTo>
                    <a:pt x="407" y="532"/>
                  </a:lnTo>
                  <a:lnTo>
                    <a:pt x="371" y="527"/>
                  </a:lnTo>
                  <a:lnTo>
                    <a:pt x="375" y="505"/>
                  </a:lnTo>
                  <a:lnTo>
                    <a:pt x="389" y="505"/>
                  </a:lnTo>
                  <a:lnTo>
                    <a:pt x="393" y="496"/>
                  </a:lnTo>
                  <a:lnTo>
                    <a:pt x="380" y="469"/>
                  </a:lnTo>
                  <a:lnTo>
                    <a:pt x="353" y="460"/>
                  </a:lnTo>
                  <a:lnTo>
                    <a:pt x="357" y="474"/>
                  </a:lnTo>
                  <a:lnTo>
                    <a:pt x="340" y="460"/>
                  </a:lnTo>
                  <a:lnTo>
                    <a:pt x="304" y="451"/>
                  </a:lnTo>
                  <a:lnTo>
                    <a:pt x="259" y="433"/>
                  </a:lnTo>
                  <a:lnTo>
                    <a:pt x="255" y="447"/>
                  </a:lnTo>
                  <a:lnTo>
                    <a:pt x="241" y="451"/>
                  </a:lnTo>
                  <a:lnTo>
                    <a:pt x="241" y="424"/>
                  </a:lnTo>
                  <a:lnTo>
                    <a:pt x="237" y="424"/>
                  </a:lnTo>
                  <a:lnTo>
                    <a:pt x="237" y="447"/>
                  </a:lnTo>
                  <a:lnTo>
                    <a:pt x="228" y="442"/>
                  </a:lnTo>
                  <a:lnTo>
                    <a:pt x="197" y="393"/>
                  </a:lnTo>
                  <a:lnTo>
                    <a:pt x="188" y="402"/>
                  </a:lnTo>
                  <a:lnTo>
                    <a:pt x="192" y="429"/>
                  </a:lnTo>
                  <a:lnTo>
                    <a:pt x="130" y="460"/>
                  </a:lnTo>
                  <a:lnTo>
                    <a:pt x="130" y="451"/>
                  </a:lnTo>
                  <a:lnTo>
                    <a:pt x="165" y="433"/>
                  </a:lnTo>
                  <a:lnTo>
                    <a:pt x="170" y="420"/>
                  </a:lnTo>
                  <a:lnTo>
                    <a:pt x="147" y="424"/>
                  </a:lnTo>
                  <a:lnTo>
                    <a:pt x="139" y="438"/>
                  </a:lnTo>
                  <a:lnTo>
                    <a:pt x="134" y="429"/>
                  </a:lnTo>
                  <a:lnTo>
                    <a:pt x="103" y="451"/>
                  </a:lnTo>
                  <a:lnTo>
                    <a:pt x="98" y="433"/>
                  </a:lnTo>
                  <a:lnTo>
                    <a:pt x="71" y="460"/>
                  </a:lnTo>
                  <a:lnTo>
                    <a:pt x="31" y="447"/>
                  </a:lnTo>
                  <a:lnTo>
                    <a:pt x="0" y="442"/>
                  </a:lnTo>
                  <a:close/>
                  <a:moveTo>
                    <a:pt x="121" y="938"/>
                  </a:moveTo>
                  <a:lnTo>
                    <a:pt x="121" y="956"/>
                  </a:lnTo>
                  <a:lnTo>
                    <a:pt x="130" y="974"/>
                  </a:lnTo>
                  <a:lnTo>
                    <a:pt x="143" y="988"/>
                  </a:lnTo>
                  <a:lnTo>
                    <a:pt x="134" y="970"/>
                  </a:lnTo>
                  <a:lnTo>
                    <a:pt x="139" y="965"/>
                  </a:lnTo>
                  <a:lnTo>
                    <a:pt x="134" y="952"/>
                  </a:lnTo>
                  <a:lnTo>
                    <a:pt x="139" y="943"/>
                  </a:lnTo>
                  <a:lnTo>
                    <a:pt x="121" y="938"/>
                  </a:lnTo>
                  <a:close/>
                  <a:moveTo>
                    <a:pt x="183" y="1019"/>
                  </a:moveTo>
                  <a:lnTo>
                    <a:pt x="192" y="1028"/>
                  </a:lnTo>
                  <a:lnTo>
                    <a:pt x="197" y="1041"/>
                  </a:lnTo>
                  <a:lnTo>
                    <a:pt x="201" y="1037"/>
                  </a:lnTo>
                  <a:lnTo>
                    <a:pt x="210" y="1046"/>
                  </a:lnTo>
                  <a:lnTo>
                    <a:pt x="232" y="1063"/>
                  </a:lnTo>
                  <a:lnTo>
                    <a:pt x="259" y="1072"/>
                  </a:lnTo>
                  <a:lnTo>
                    <a:pt x="259" y="1068"/>
                  </a:lnTo>
                  <a:lnTo>
                    <a:pt x="246" y="1055"/>
                  </a:lnTo>
                  <a:lnTo>
                    <a:pt x="232" y="1041"/>
                  </a:lnTo>
                  <a:lnTo>
                    <a:pt x="228" y="1032"/>
                  </a:lnTo>
                  <a:lnTo>
                    <a:pt x="197" y="1019"/>
                  </a:lnTo>
                  <a:lnTo>
                    <a:pt x="183" y="1019"/>
                  </a:lnTo>
                  <a:close/>
                  <a:moveTo>
                    <a:pt x="241" y="223"/>
                  </a:moveTo>
                  <a:lnTo>
                    <a:pt x="250" y="228"/>
                  </a:lnTo>
                  <a:lnTo>
                    <a:pt x="259" y="246"/>
                  </a:lnTo>
                  <a:lnTo>
                    <a:pt x="241" y="281"/>
                  </a:lnTo>
                  <a:lnTo>
                    <a:pt x="250" y="290"/>
                  </a:lnTo>
                  <a:lnTo>
                    <a:pt x="237" y="290"/>
                  </a:lnTo>
                  <a:lnTo>
                    <a:pt x="228" y="331"/>
                  </a:lnTo>
                  <a:lnTo>
                    <a:pt x="237" y="331"/>
                  </a:lnTo>
                  <a:lnTo>
                    <a:pt x="255" y="344"/>
                  </a:lnTo>
                  <a:lnTo>
                    <a:pt x="255" y="366"/>
                  </a:lnTo>
                  <a:lnTo>
                    <a:pt x="264" y="375"/>
                  </a:lnTo>
                  <a:lnTo>
                    <a:pt x="273" y="371"/>
                  </a:lnTo>
                  <a:lnTo>
                    <a:pt x="281" y="353"/>
                  </a:lnTo>
                  <a:lnTo>
                    <a:pt x="290" y="362"/>
                  </a:lnTo>
                  <a:lnTo>
                    <a:pt x="304" y="348"/>
                  </a:lnTo>
                  <a:lnTo>
                    <a:pt x="304" y="322"/>
                  </a:lnTo>
                  <a:lnTo>
                    <a:pt x="313" y="313"/>
                  </a:lnTo>
                  <a:lnTo>
                    <a:pt x="308" y="304"/>
                  </a:lnTo>
                  <a:lnTo>
                    <a:pt x="313" y="290"/>
                  </a:lnTo>
                  <a:lnTo>
                    <a:pt x="335" y="277"/>
                  </a:lnTo>
                  <a:lnTo>
                    <a:pt x="353" y="268"/>
                  </a:lnTo>
                  <a:lnTo>
                    <a:pt x="371" y="255"/>
                  </a:lnTo>
                  <a:lnTo>
                    <a:pt x="348" y="232"/>
                  </a:lnTo>
                  <a:lnTo>
                    <a:pt x="340" y="210"/>
                  </a:lnTo>
                  <a:lnTo>
                    <a:pt x="322" y="214"/>
                  </a:lnTo>
                  <a:lnTo>
                    <a:pt x="317" y="219"/>
                  </a:lnTo>
                  <a:lnTo>
                    <a:pt x="290" y="205"/>
                  </a:lnTo>
                  <a:lnTo>
                    <a:pt x="241" y="223"/>
                  </a:lnTo>
                  <a:close/>
                  <a:moveTo>
                    <a:pt x="259" y="89"/>
                  </a:moveTo>
                  <a:lnTo>
                    <a:pt x="264" y="98"/>
                  </a:lnTo>
                  <a:lnTo>
                    <a:pt x="281" y="98"/>
                  </a:lnTo>
                  <a:lnTo>
                    <a:pt x="286" y="89"/>
                  </a:lnTo>
                  <a:lnTo>
                    <a:pt x="295" y="112"/>
                  </a:lnTo>
                  <a:lnTo>
                    <a:pt x="308" y="98"/>
                  </a:lnTo>
                  <a:lnTo>
                    <a:pt x="308" y="80"/>
                  </a:lnTo>
                  <a:lnTo>
                    <a:pt x="313" y="94"/>
                  </a:lnTo>
                  <a:lnTo>
                    <a:pt x="322" y="76"/>
                  </a:lnTo>
                  <a:lnTo>
                    <a:pt x="322" y="49"/>
                  </a:lnTo>
                  <a:lnTo>
                    <a:pt x="335" y="45"/>
                  </a:lnTo>
                  <a:lnTo>
                    <a:pt x="335" y="71"/>
                  </a:lnTo>
                  <a:lnTo>
                    <a:pt x="344" y="89"/>
                  </a:lnTo>
                  <a:lnTo>
                    <a:pt x="348" y="80"/>
                  </a:lnTo>
                  <a:lnTo>
                    <a:pt x="348" y="67"/>
                  </a:lnTo>
                  <a:lnTo>
                    <a:pt x="362" y="71"/>
                  </a:lnTo>
                  <a:lnTo>
                    <a:pt x="366" y="49"/>
                  </a:lnTo>
                  <a:lnTo>
                    <a:pt x="362" y="36"/>
                  </a:lnTo>
                  <a:lnTo>
                    <a:pt x="371" y="27"/>
                  </a:lnTo>
                  <a:lnTo>
                    <a:pt x="357" y="9"/>
                  </a:lnTo>
                  <a:lnTo>
                    <a:pt x="353" y="9"/>
                  </a:lnTo>
                  <a:lnTo>
                    <a:pt x="348" y="22"/>
                  </a:lnTo>
                  <a:lnTo>
                    <a:pt x="317" y="18"/>
                  </a:lnTo>
                  <a:lnTo>
                    <a:pt x="299" y="49"/>
                  </a:lnTo>
                  <a:lnTo>
                    <a:pt x="286" y="54"/>
                  </a:lnTo>
                  <a:lnTo>
                    <a:pt x="286" y="67"/>
                  </a:lnTo>
                  <a:lnTo>
                    <a:pt x="264" y="76"/>
                  </a:lnTo>
                  <a:lnTo>
                    <a:pt x="259" y="89"/>
                  </a:lnTo>
                  <a:close/>
                  <a:moveTo>
                    <a:pt x="322" y="362"/>
                  </a:moveTo>
                  <a:lnTo>
                    <a:pt x="335" y="353"/>
                  </a:lnTo>
                  <a:lnTo>
                    <a:pt x="362" y="348"/>
                  </a:lnTo>
                  <a:lnTo>
                    <a:pt x="375" y="353"/>
                  </a:lnTo>
                  <a:lnTo>
                    <a:pt x="348" y="362"/>
                  </a:lnTo>
                  <a:lnTo>
                    <a:pt x="326" y="375"/>
                  </a:lnTo>
                  <a:lnTo>
                    <a:pt x="326" y="384"/>
                  </a:lnTo>
                  <a:lnTo>
                    <a:pt x="340" y="393"/>
                  </a:lnTo>
                  <a:lnTo>
                    <a:pt x="375" y="398"/>
                  </a:lnTo>
                  <a:lnTo>
                    <a:pt x="398" y="389"/>
                  </a:lnTo>
                  <a:lnTo>
                    <a:pt x="433" y="398"/>
                  </a:lnTo>
                  <a:lnTo>
                    <a:pt x="438" y="402"/>
                  </a:lnTo>
                  <a:lnTo>
                    <a:pt x="420" y="411"/>
                  </a:lnTo>
                  <a:lnTo>
                    <a:pt x="398" y="407"/>
                  </a:lnTo>
                  <a:lnTo>
                    <a:pt x="353" y="416"/>
                  </a:lnTo>
                  <a:lnTo>
                    <a:pt x="344" y="429"/>
                  </a:lnTo>
                  <a:lnTo>
                    <a:pt x="357" y="451"/>
                  </a:lnTo>
                  <a:lnTo>
                    <a:pt x="402" y="451"/>
                  </a:lnTo>
                  <a:lnTo>
                    <a:pt x="402" y="460"/>
                  </a:lnTo>
                  <a:lnTo>
                    <a:pt x="393" y="469"/>
                  </a:lnTo>
                  <a:lnTo>
                    <a:pt x="393" y="483"/>
                  </a:lnTo>
                  <a:lnTo>
                    <a:pt x="407" y="496"/>
                  </a:lnTo>
                  <a:lnTo>
                    <a:pt x="451" y="491"/>
                  </a:lnTo>
                  <a:lnTo>
                    <a:pt x="474" y="474"/>
                  </a:lnTo>
                  <a:lnTo>
                    <a:pt x="482" y="474"/>
                  </a:lnTo>
                  <a:lnTo>
                    <a:pt x="491" y="465"/>
                  </a:lnTo>
                  <a:lnTo>
                    <a:pt x="496" y="447"/>
                  </a:lnTo>
                  <a:lnTo>
                    <a:pt x="500" y="465"/>
                  </a:lnTo>
                  <a:lnTo>
                    <a:pt x="527" y="460"/>
                  </a:lnTo>
                  <a:lnTo>
                    <a:pt x="518" y="474"/>
                  </a:lnTo>
                  <a:lnTo>
                    <a:pt x="554" y="478"/>
                  </a:lnTo>
                  <a:lnTo>
                    <a:pt x="572" y="465"/>
                  </a:lnTo>
                  <a:lnTo>
                    <a:pt x="563" y="447"/>
                  </a:lnTo>
                  <a:lnTo>
                    <a:pt x="554" y="451"/>
                  </a:lnTo>
                  <a:lnTo>
                    <a:pt x="549" y="442"/>
                  </a:lnTo>
                  <a:lnTo>
                    <a:pt x="567" y="438"/>
                  </a:lnTo>
                  <a:lnTo>
                    <a:pt x="581" y="442"/>
                  </a:lnTo>
                  <a:lnTo>
                    <a:pt x="581" y="420"/>
                  </a:lnTo>
                  <a:lnTo>
                    <a:pt x="558" y="411"/>
                  </a:lnTo>
                  <a:lnTo>
                    <a:pt x="554" y="398"/>
                  </a:lnTo>
                  <a:lnTo>
                    <a:pt x="545" y="407"/>
                  </a:lnTo>
                  <a:lnTo>
                    <a:pt x="527" y="380"/>
                  </a:lnTo>
                  <a:lnTo>
                    <a:pt x="527" y="348"/>
                  </a:lnTo>
                  <a:lnTo>
                    <a:pt x="509" y="281"/>
                  </a:lnTo>
                  <a:lnTo>
                    <a:pt x="491" y="264"/>
                  </a:lnTo>
                  <a:lnTo>
                    <a:pt x="491" y="273"/>
                  </a:lnTo>
                  <a:lnTo>
                    <a:pt x="478" y="268"/>
                  </a:lnTo>
                  <a:lnTo>
                    <a:pt x="478" y="281"/>
                  </a:lnTo>
                  <a:lnTo>
                    <a:pt x="487" y="344"/>
                  </a:lnTo>
                  <a:lnTo>
                    <a:pt x="478" y="353"/>
                  </a:lnTo>
                  <a:lnTo>
                    <a:pt x="474" y="344"/>
                  </a:lnTo>
                  <a:lnTo>
                    <a:pt x="469" y="304"/>
                  </a:lnTo>
                  <a:lnTo>
                    <a:pt x="456" y="286"/>
                  </a:lnTo>
                  <a:lnTo>
                    <a:pt x="442" y="286"/>
                  </a:lnTo>
                  <a:lnTo>
                    <a:pt x="447" y="299"/>
                  </a:lnTo>
                  <a:lnTo>
                    <a:pt x="451" y="299"/>
                  </a:lnTo>
                  <a:lnTo>
                    <a:pt x="451" y="322"/>
                  </a:lnTo>
                  <a:lnTo>
                    <a:pt x="433" y="322"/>
                  </a:lnTo>
                  <a:lnTo>
                    <a:pt x="424" y="326"/>
                  </a:lnTo>
                  <a:lnTo>
                    <a:pt x="438" y="299"/>
                  </a:lnTo>
                  <a:lnTo>
                    <a:pt x="424" y="286"/>
                  </a:lnTo>
                  <a:lnTo>
                    <a:pt x="402" y="277"/>
                  </a:lnTo>
                  <a:lnTo>
                    <a:pt x="398" y="304"/>
                  </a:lnTo>
                  <a:lnTo>
                    <a:pt x="384" y="313"/>
                  </a:lnTo>
                  <a:lnTo>
                    <a:pt x="389" y="295"/>
                  </a:lnTo>
                  <a:lnTo>
                    <a:pt x="389" y="259"/>
                  </a:lnTo>
                  <a:lnTo>
                    <a:pt x="380" y="259"/>
                  </a:lnTo>
                  <a:lnTo>
                    <a:pt x="322" y="295"/>
                  </a:lnTo>
                  <a:lnTo>
                    <a:pt x="322" y="304"/>
                  </a:lnTo>
                  <a:lnTo>
                    <a:pt x="322" y="313"/>
                  </a:lnTo>
                  <a:lnTo>
                    <a:pt x="335" y="308"/>
                  </a:lnTo>
                  <a:lnTo>
                    <a:pt x="331" y="317"/>
                  </a:lnTo>
                  <a:lnTo>
                    <a:pt x="317" y="322"/>
                  </a:lnTo>
                  <a:lnTo>
                    <a:pt x="308" y="340"/>
                  </a:lnTo>
                  <a:lnTo>
                    <a:pt x="308" y="348"/>
                  </a:lnTo>
                  <a:lnTo>
                    <a:pt x="317" y="340"/>
                  </a:lnTo>
                  <a:lnTo>
                    <a:pt x="326" y="344"/>
                  </a:lnTo>
                  <a:lnTo>
                    <a:pt x="322" y="353"/>
                  </a:lnTo>
                  <a:lnTo>
                    <a:pt x="322" y="362"/>
                  </a:lnTo>
                  <a:close/>
                  <a:moveTo>
                    <a:pt x="322" y="550"/>
                  </a:moveTo>
                  <a:lnTo>
                    <a:pt x="299" y="572"/>
                  </a:lnTo>
                  <a:lnTo>
                    <a:pt x="322" y="581"/>
                  </a:lnTo>
                  <a:lnTo>
                    <a:pt x="344" y="572"/>
                  </a:lnTo>
                  <a:lnTo>
                    <a:pt x="348" y="576"/>
                  </a:lnTo>
                  <a:lnTo>
                    <a:pt x="344" y="594"/>
                  </a:lnTo>
                  <a:lnTo>
                    <a:pt x="322" y="599"/>
                  </a:lnTo>
                  <a:lnTo>
                    <a:pt x="322" y="590"/>
                  </a:lnTo>
                  <a:lnTo>
                    <a:pt x="313" y="590"/>
                  </a:lnTo>
                  <a:lnTo>
                    <a:pt x="308" y="599"/>
                  </a:lnTo>
                  <a:lnTo>
                    <a:pt x="313" y="608"/>
                  </a:lnTo>
                  <a:lnTo>
                    <a:pt x="308" y="612"/>
                  </a:lnTo>
                  <a:lnTo>
                    <a:pt x="295" y="630"/>
                  </a:lnTo>
                  <a:lnTo>
                    <a:pt x="290" y="626"/>
                  </a:lnTo>
                  <a:lnTo>
                    <a:pt x="299" y="603"/>
                  </a:lnTo>
                  <a:lnTo>
                    <a:pt x="295" y="599"/>
                  </a:lnTo>
                  <a:lnTo>
                    <a:pt x="281" y="626"/>
                  </a:lnTo>
                  <a:lnTo>
                    <a:pt x="255" y="617"/>
                  </a:lnTo>
                  <a:lnTo>
                    <a:pt x="268" y="612"/>
                  </a:lnTo>
                  <a:lnTo>
                    <a:pt x="273" y="599"/>
                  </a:lnTo>
                  <a:lnTo>
                    <a:pt x="268" y="590"/>
                  </a:lnTo>
                  <a:lnTo>
                    <a:pt x="286" y="590"/>
                  </a:lnTo>
                  <a:lnTo>
                    <a:pt x="281" y="581"/>
                  </a:lnTo>
                  <a:lnTo>
                    <a:pt x="241" y="585"/>
                  </a:lnTo>
                  <a:lnTo>
                    <a:pt x="232" y="590"/>
                  </a:lnTo>
                  <a:lnTo>
                    <a:pt x="237" y="576"/>
                  </a:lnTo>
                  <a:lnTo>
                    <a:pt x="246" y="581"/>
                  </a:lnTo>
                  <a:lnTo>
                    <a:pt x="268" y="572"/>
                  </a:lnTo>
                  <a:lnTo>
                    <a:pt x="308" y="545"/>
                  </a:lnTo>
                  <a:lnTo>
                    <a:pt x="322" y="550"/>
                  </a:lnTo>
                  <a:close/>
                  <a:moveTo>
                    <a:pt x="335" y="107"/>
                  </a:moveTo>
                  <a:lnTo>
                    <a:pt x="313" y="143"/>
                  </a:lnTo>
                  <a:lnTo>
                    <a:pt x="313" y="152"/>
                  </a:lnTo>
                  <a:lnTo>
                    <a:pt x="326" y="156"/>
                  </a:lnTo>
                  <a:lnTo>
                    <a:pt x="340" y="107"/>
                  </a:lnTo>
                  <a:lnTo>
                    <a:pt x="335" y="107"/>
                  </a:lnTo>
                  <a:close/>
                  <a:moveTo>
                    <a:pt x="357" y="684"/>
                  </a:moveTo>
                  <a:lnTo>
                    <a:pt x="402" y="715"/>
                  </a:lnTo>
                  <a:lnTo>
                    <a:pt x="415" y="715"/>
                  </a:lnTo>
                  <a:lnTo>
                    <a:pt x="433" y="697"/>
                  </a:lnTo>
                  <a:lnTo>
                    <a:pt x="451" y="693"/>
                  </a:lnTo>
                  <a:lnTo>
                    <a:pt x="451" y="702"/>
                  </a:lnTo>
                  <a:lnTo>
                    <a:pt x="433" y="710"/>
                  </a:lnTo>
                  <a:lnTo>
                    <a:pt x="411" y="737"/>
                  </a:lnTo>
                  <a:lnTo>
                    <a:pt x="402" y="737"/>
                  </a:lnTo>
                  <a:lnTo>
                    <a:pt x="402" y="746"/>
                  </a:lnTo>
                  <a:lnTo>
                    <a:pt x="371" y="755"/>
                  </a:lnTo>
                  <a:lnTo>
                    <a:pt x="348" y="751"/>
                  </a:lnTo>
                  <a:lnTo>
                    <a:pt x="322" y="737"/>
                  </a:lnTo>
                  <a:lnTo>
                    <a:pt x="326" y="733"/>
                  </a:lnTo>
                  <a:lnTo>
                    <a:pt x="348" y="742"/>
                  </a:lnTo>
                  <a:lnTo>
                    <a:pt x="366" y="742"/>
                  </a:lnTo>
                  <a:lnTo>
                    <a:pt x="371" y="724"/>
                  </a:lnTo>
                  <a:lnTo>
                    <a:pt x="384" y="719"/>
                  </a:lnTo>
                  <a:lnTo>
                    <a:pt x="375" y="702"/>
                  </a:lnTo>
                  <a:lnTo>
                    <a:pt x="366" y="706"/>
                  </a:lnTo>
                  <a:lnTo>
                    <a:pt x="357" y="684"/>
                  </a:lnTo>
                  <a:close/>
                  <a:moveTo>
                    <a:pt x="384" y="71"/>
                  </a:moveTo>
                  <a:lnTo>
                    <a:pt x="375" y="76"/>
                  </a:lnTo>
                  <a:lnTo>
                    <a:pt x="362" y="89"/>
                  </a:lnTo>
                  <a:lnTo>
                    <a:pt x="375" y="98"/>
                  </a:lnTo>
                  <a:lnTo>
                    <a:pt x="357" y="98"/>
                  </a:lnTo>
                  <a:lnTo>
                    <a:pt x="353" y="107"/>
                  </a:lnTo>
                  <a:lnTo>
                    <a:pt x="348" y="121"/>
                  </a:lnTo>
                  <a:lnTo>
                    <a:pt x="371" y="121"/>
                  </a:lnTo>
                  <a:lnTo>
                    <a:pt x="348" y="134"/>
                  </a:lnTo>
                  <a:lnTo>
                    <a:pt x="344" y="152"/>
                  </a:lnTo>
                  <a:lnTo>
                    <a:pt x="375" y="147"/>
                  </a:lnTo>
                  <a:lnTo>
                    <a:pt x="357" y="161"/>
                  </a:lnTo>
                  <a:lnTo>
                    <a:pt x="344" y="161"/>
                  </a:lnTo>
                  <a:lnTo>
                    <a:pt x="340" y="174"/>
                  </a:lnTo>
                  <a:lnTo>
                    <a:pt x="357" y="174"/>
                  </a:lnTo>
                  <a:lnTo>
                    <a:pt x="366" y="174"/>
                  </a:lnTo>
                  <a:lnTo>
                    <a:pt x="371" y="183"/>
                  </a:lnTo>
                  <a:lnTo>
                    <a:pt x="380" y="183"/>
                  </a:lnTo>
                  <a:lnTo>
                    <a:pt x="389" y="179"/>
                  </a:lnTo>
                  <a:lnTo>
                    <a:pt x="398" y="156"/>
                  </a:lnTo>
                  <a:lnTo>
                    <a:pt x="407" y="156"/>
                  </a:lnTo>
                  <a:lnTo>
                    <a:pt x="398" y="174"/>
                  </a:lnTo>
                  <a:lnTo>
                    <a:pt x="398" y="179"/>
                  </a:lnTo>
                  <a:lnTo>
                    <a:pt x="411" y="170"/>
                  </a:lnTo>
                  <a:lnTo>
                    <a:pt x="433" y="170"/>
                  </a:lnTo>
                  <a:lnTo>
                    <a:pt x="429" y="179"/>
                  </a:lnTo>
                  <a:lnTo>
                    <a:pt x="407" y="183"/>
                  </a:lnTo>
                  <a:lnTo>
                    <a:pt x="384" y="188"/>
                  </a:lnTo>
                  <a:lnTo>
                    <a:pt x="384" y="197"/>
                  </a:lnTo>
                  <a:lnTo>
                    <a:pt x="389" y="210"/>
                  </a:lnTo>
                  <a:lnTo>
                    <a:pt x="402" y="214"/>
                  </a:lnTo>
                  <a:lnTo>
                    <a:pt x="420" y="210"/>
                  </a:lnTo>
                  <a:lnTo>
                    <a:pt x="433" y="201"/>
                  </a:lnTo>
                  <a:lnTo>
                    <a:pt x="438" y="192"/>
                  </a:lnTo>
                  <a:lnTo>
                    <a:pt x="456" y="192"/>
                  </a:lnTo>
                  <a:lnTo>
                    <a:pt x="460" y="183"/>
                  </a:lnTo>
                  <a:lnTo>
                    <a:pt x="496" y="188"/>
                  </a:lnTo>
                  <a:lnTo>
                    <a:pt x="509" y="174"/>
                  </a:lnTo>
                  <a:lnTo>
                    <a:pt x="509" y="165"/>
                  </a:lnTo>
                  <a:lnTo>
                    <a:pt x="523" y="134"/>
                  </a:lnTo>
                  <a:lnTo>
                    <a:pt x="514" y="116"/>
                  </a:lnTo>
                  <a:lnTo>
                    <a:pt x="505" y="107"/>
                  </a:lnTo>
                  <a:lnTo>
                    <a:pt x="496" y="116"/>
                  </a:lnTo>
                  <a:lnTo>
                    <a:pt x="482" y="121"/>
                  </a:lnTo>
                  <a:lnTo>
                    <a:pt x="482" y="112"/>
                  </a:lnTo>
                  <a:lnTo>
                    <a:pt x="469" y="107"/>
                  </a:lnTo>
                  <a:lnTo>
                    <a:pt x="469" y="89"/>
                  </a:lnTo>
                  <a:lnTo>
                    <a:pt x="465" y="71"/>
                  </a:lnTo>
                  <a:lnTo>
                    <a:pt x="456" y="67"/>
                  </a:lnTo>
                  <a:lnTo>
                    <a:pt x="460" y="58"/>
                  </a:lnTo>
                  <a:lnTo>
                    <a:pt x="456" y="54"/>
                  </a:lnTo>
                  <a:lnTo>
                    <a:pt x="451" y="58"/>
                  </a:lnTo>
                  <a:lnTo>
                    <a:pt x="438" y="76"/>
                  </a:lnTo>
                  <a:lnTo>
                    <a:pt x="456" y="107"/>
                  </a:lnTo>
                  <a:lnTo>
                    <a:pt x="442" y="121"/>
                  </a:lnTo>
                  <a:lnTo>
                    <a:pt x="460" y="143"/>
                  </a:lnTo>
                  <a:lnTo>
                    <a:pt x="456" y="152"/>
                  </a:lnTo>
                  <a:lnTo>
                    <a:pt x="433" y="152"/>
                  </a:lnTo>
                  <a:lnTo>
                    <a:pt x="424" y="134"/>
                  </a:lnTo>
                  <a:lnTo>
                    <a:pt x="407" y="130"/>
                  </a:lnTo>
                  <a:lnTo>
                    <a:pt x="420" y="125"/>
                  </a:lnTo>
                  <a:lnTo>
                    <a:pt x="407" y="89"/>
                  </a:lnTo>
                  <a:lnTo>
                    <a:pt x="393" y="94"/>
                  </a:lnTo>
                  <a:lnTo>
                    <a:pt x="389" y="71"/>
                  </a:lnTo>
                  <a:lnTo>
                    <a:pt x="384" y="71"/>
                  </a:lnTo>
                  <a:close/>
                  <a:moveTo>
                    <a:pt x="500" y="246"/>
                  </a:moveTo>
                  <a:lnTo>
                    <a:pt x="496" y="255"/>
                  </a:lnTo>
                  <a:lnTo>
                    <a:pt x="505" y="264"/>
                  </a:lnTo>
                  <a:lnTo>
                    <a:pt x="518" y="286"/>
                  </a:lnTo>
                  <a:lnTo>
                    <a:pt x="527" y="273"/>
                  </a:lnTo>
                  <a:lnTo>
                    <a:pt x="532" y="259"/>
                  </a:lnTo>
                  <a:lnTo>
                    <a:pt x="523" y="241"/>
                  </a:lnTo>
                  <a:lnTo>
                    <a:pt x="500" y="246"/>
                  </a:lnTo>
                  <a:close/>
                  <a:moveTo>
                    <a:pt x="585" y="183"/>
                  </a:moveTo>
                  <a:lnTo>
                    <a:pt x="616" y="179"/>
                  </a:lnTo>
                  <a:lnTo>
                    <a:pt x="621" y="156"/>
                  </a:lnTo>
                  <a:lnTo>
                    <a:pt x="630" y="161"/>
                  </a:lnTo>
                  <a:lnTo>
                    <a:pt x="625" y="143"/>
                  </a:lnTo>
                  <a:lnTo>
                    <a:pt x="621" y="143"/>
                  </a:lnTo>
                  <a:lnTo>
                    <a:pt x="634" y="112"/>
                  </a:lnTo>
                  <a:lnTo>
                    <a:pt x="630" y="76"/>
                  </a:lnTo>
                  <a:lnTo>
                    <a:pt x="612" y="71"/>
                  </a:lnTo>
                  <a:lnTo>
                    <a:pt x="608" y="85"/>
                  </a:lnTo>
                  <a:lnTo>
                    <a:pt x="599" y="76"/>
                  </a:lnTo>
                  <a:lnTo>
                    <a:pt x="590" y="71"/>
                  </a:lnTo>
                  <a:lnTo>
                    <a:pt x="581" y="80"/>
                  </a:lnTo>
                  <a:lnTo>
                    <a:pt x="590" y="98"/>
                  </a:lnTo>
                  <a:lnTo>
                    <a:pt x="599" y="103"/>
                  </a:lnTo>
                  <a:lnTo>
                    <a:pt x="594" y="107"/>
                  </a:lnTo>
                  <a:lnTo>
                    <a:pt x="594" y="125"/>
                  </a:lnTo>
                  <a:lnTo>
                    <a:pt x="581" y="103"/>
                  </a:lnTo>
                  <a:lnTo>
                    <a:pt x="576" y="89"/>
                  </a:lnTo>
                  <a:lnTo>
                    <a:pt x="563" y="89"/>
                  </a:lnTo>
                  <a:lnTo>
                    <a:pt x="563" y="103"/>
                  </a:lnTo>
                  <a:lnTo>
                    <a:pt x="572" y="103"/>
                  </a:lnTo>
                  <a:lnTo>
                    <a:pt x="567" y="112"/>
                  </a:lnTo>
                  <a:lnTo>
                    <a:pt x="576" y="138"/>
                  </a:lnTo>
                  <a:lnTo>
                    <a:pt x="572" y="143"/>
                  </a:lnTo>
                  <a:lnTo>
                    <a:pt x="563" y="138"/>
                  </a:lnTo>
                  <a:lnTo>
                    <a:pt x="549" y="152"/>
                  </a:lnTo>
                  <a:lnTo>
                    <a:pt x="549" y="161"/>
                  </a:lnTo>
                  <a:lnTo>
                    <a:pt x="576" y="152"/>
                  </a:lnTo>
                  <a:lnTo>
                    <a:pt x="594" y="152"/>
                  </a:lnTo>
                  <a:lnTo>
                    <a:pt x="585" y="161"/>
                  </a:lnTo>
                  <a:lnTo>
                    <a:pt x="585" y="174"/>
                  </a:lnTo>
                  <a:lnTo>
                    <a:pt x="585" y="183"/>
                  </a:lnTo>
                  <a:close/>
                  <a:moveTo>
                    <a:pt x="603" y="246"/>
                  </a:moveTo>
                  <a:lnTo>
                    <a:pt x="594" y="237"/>
                  </a:lnTo>
                  <a:lnTo>
                    <a:pt x="581" y="246"/>
                  </a:lnTo>
                  <a:lnTo>
                    <a:pt x="581" y="255"/>
                  </a:lnTo>
                  <a:lnTo>
                    <a:pt x="572" y="259"/>
                  </a:lnTo>
                  <a:lnTo>
                    <a:pt x="594" y="290"/>
                  </a:lnTo>
                  <a:lnTo>
                    <a:pt x="590" y="295"/>
                  </a:lnTo>
                  <a:lnTo>
                    <a:pt x="567" y="273"/>
                  </a:lnTo>
                  <a:lnTo>
                    <a:pt x="558" y="277"/>
                  </a:lnTo>
                  <a:lnTo>
                    <a:pt x="554" y="290"/>
                  </a:lnTo>
                  <a:lnTo>
                    <a:pt x="567" y="308"/>
                  </a:lnTo>
                  <a:lnTo>
                    <a:pt x="563" y="317"/>
                  </a:lnTo>
                  <a:lnTo>
                    <a:pt x="585" y="317"/>
                  </a:lnTo>
                  <a:lnTo>
                    <a:pt x="603" y="348"/>
                  </a:lnTo>
                  <a:lnTo>
                    <a:pt x="603" y="371"/>
                  </a:lnTo>
                  <a:lnTo>
                    <a:pt x="621" y="371"/>
                  </a:lnTo>
                  <a:lnTo>
                    <a:pt x="625" y="357"/>
                  </a:lnTo>
                  <a:lnTo>
                    <a:pt x="621" y="344"/>
                  </a:lnTo>
                  <a:lnTo>
                    <a:pt x="639" y="340"/>
                  </a:lnTo>
                  <a:lnTo>
                    <a:pt x="639" y="286"/>
                  </a:lnTo>
                  <a:lnTo>
                    <a:pt x="630" y="295"/>
                  </a:lnTo>
                  <a:lnTo>
                    <a:pt x="621" y="277"/>
                  </a:lnTo>
                  <a:lnTo>
                    <a:pt x="634" y="264"/>
                  </a:lnTo>
                  <a:lnTo>
                    <a:pt x="634" y="255"/>
                  </a:lnTo>
                  <a:lnTo>
                    <a:pt x="639" y="246"/>
                  </a:lnTo>
                  <a:lnTo>
                    <a:pt x="639" y="237"/>
                  </a:lnTo>
                  <a:lnTo>
                    <a:pt x="603" y="246"/>
                  </a:lnTo>
                  <a:close/>
                  <a:moveTo>
                    <a:pt x="657" y="241"/>
                  </a:moveTo>
                  <a:lnTo>
                    <a:pt x="666" y="250"/>
                  </a:lnTo>
                  <a:lnTo>
                    <a:pt x="652" y="246"/>
                  </a:lnTo>
                  <a:lnTo>
                    <a:pt x="652" y="273"/>
                  </a:lnTo>
                  <a:lnTo>
                    <a:pt x="652" y="308"/>
                  </a:lnTo>
                  <a:lnTo>
                    <a:pt x="661" y="313"/>
                  </a:lnTo>
                  <a:lnTo>
                    <a:pt x="661" y="340"/>
                  </a:lnTo>
                  <a:lnTo>
                    <a:pt x="675" y="344"/>
                  </a:lnTo>
                  <a:lnTo>
                    <a:pt x="675" y="335"/>
                  </a:lnTo>
                  <a:lnTo>
                    <a:pt x="688" y="322"/>
                  </a:lnTo>
                  <a:lnTo>
                    <a:pt x="683" y="304"/>
                  </a:lnTo>
                  <a:lnTo>
                    <a:pt x="666" y="304"/>
                  </a:lnTo>
                  <a:lnTo>
                    <a:pt x="666" y="295"/>
                  </a:lnTo>
                  <a:lnTo>
                    <a:pt x="688" y="295"/>
                  </a:lnTo>
                  <a:lnTo>
                    <a:pt x="715" y="304"/>
                  </a:lnTo>
                  <a:lnTo>
                    <a:pt x="733" y="250"/>
                  </a:lnTo>
                  <a:lnTo>
                    <a:pt x="719" y="241"/>
                  </a:lnTo>
                  <a:lnTo>
                    <a:pt x="679" y="228"/>
                  </a:lnTo>
                  <a:lnTo>
                    <a:pt x="657" y="241"/>
                  </a:lnTo>
                  <a:close/>
                  <a:moveTo>
                    <a:pt x="666" y="143"/>
                  </a:moveTo>
                  <a:lnTo>
                    <a:pt x="652" y="152"/>
                  </a:lnTo>
                  <a:lnTo>
                    <a:pt x="643" y="170"/>
                  </a:lnTo>
                  <a:lnTo>
                    <a:pt x="643" y="179"/>
                  </a:lnTo>
                  <a:lnTo>
                    <a:pt x="657" y="179"/>
                  </a:lnTo>
                  <a:lnTo>
                    <a:pt x="683" y="197"/>
                  </a:lnTo>
                  <a:lnTo>
                    <a:pt x="688" y="192"/>
                  </a:lnTo>
                  <a:lnTo>
                    <a:pt x="683" y="161"/>
                  </a:lnTo>
                  <a:lnTo>
                    <a:pt x="666" y="143"/>
                  </a:lnTo>
                  <a:close/>
                  <a:moveTo>
                    <a:pt x="697" y="76"/>
                  </a:moveTo>
                  <a:lnTo>
                    <a:pt x="688" y="89"/>
                  </a:lnTo>
                  <a:lnTo>
                    <a:pt x="692" y="71"/>
                  </a:lnTo>
                  <a:lnTo>
                    <a:pt x="679" y="62"/>
                  </a:lnTo>
                  <a:lnTo>
                    <a:pt x="657" y="54"/>
                  </a:lnTo>
                  <a:lnTo>
                    <a:pt x="634" y="58"/>
                  </a:lnTo>
                  <a:lnTo>
                    <a:pt x="639" y="76"/>
                  </a:lnTo>
                  <a:lnTo>
                    <a:pt x="661" y="103"/>
                  </a:lnTo>
                  <a:lnTo>
                    <a:pt x="683" y="107"/>
                  </a:lnTo>
                  <a:lnTo>
                    <a:pt x="697" y="98"/>
                  </a:lnTo>
                  <a:lnTo>
                    <a:pt x="710" y="138"/>
                  </a:lnTo>
                  <a:lnTo>
                    <a:pt x="701" y="152"/>
                  </a:lnTo>
                  <a:lnTo>
                    <a:pt x="710" y="197"/>
                  </a:lnTo>
                  <a:lnTo>
                    <a:pt x="719" y="205"/>
                  </a:lnTo>
                  <a:lnTo>
                    <a:pt x="724" y="197"/>
                  </a:lnTo>
                  <a:lnTo>
                    <a:pt x="737" y="210"/>
                  </a:lnTo>
                  <a:lnTo>
                    <a:pt x="746" y="205"/>
                  </a:lnTo>
                  <a:lnTo>
                    <a:pt x="750" y="197"/>
                  </a:lnTo>
                  <a:lnTo>
                    <a:pt x="759" y="192"/>
                  </a:lnTo>
                  <a:lnTo>
                    <a:pt x="759" y="205"/>
                  </a:lnTo>
                  <a:lnTo>
                    <a:pt x="782" y="205"/>
                  </a:lnTo>
                  <a:lnTo>
                    <a:pt x="809" y="205"/>
                  </a:lnTo>
                  <a:lnTo>
                    <a:pt x="826" y="205"/>
                  </a:lnTo>
                  <a:lnTo>
                    <a:pt x="835" y="192"/>
                  </a:lnTo>
                  <a:lnTo>
                    <a:pt x="840" y="201"/>
                  </a:lnTo>
                  <a:lnTo>
                    <a:pt x="853" y="210"/>
                  </a:lnTo>
                  <a:lnTo>
                    <a:pt x="871" y="201"/>
                  </a:lnTo>
                  <a:lnTo>
                    <a:pt x="871" y="192"/>
                  </a:lnTo>
                  <a:lnTo>
                    <a:pt x="884" y="188"/>
                  </a:lnTo>
                  <a:lnTo>
                    <a:pt x="880" y="179"/>
                  </a:lnTo>
                  <a:lnTo>
                    <a:pt x="871" y="179"/>
                  </a:lnTo>
                  <a:lnTo>
                    <a:pt x="884" y="165"/>
                  </a:lnTo>
                  <a:lnTo>
                    <a:pt x="884" y="143"/>
                  </a:lnTo>
                  <a:lnTo>
                    <a:pt x="867" y="134"/>
                  </a:lnTo>
                  <a:lnTo>
                    <a:pt x="849" y="130"/>
                  </a:lnTo>
                  <a:lnTo>
                    <a:pt x="835" y="134"/>
                  </a:lnTo>
                  <a:lnTo>
                    <a:pt x="826" y="130"/>
                  </a:lnTo>
                  <a:lnTo>
                    <a:pt x="800" y="138"/>
                  </a:lnTo>
                  <a:lnTo>
                    <a:pt x="791" y="152"/>
                  </a:lnTo>
                  <a:lnTo>
                    <a:pt x="773" y="143"/>
                  </a:lnTo>
                  <a:lnTo>
                    <a:pt x="759" y="138"/>
                  </a:lnTo>
                  <a:lnTo>
                    <a:pt x="750" y="143"/>
                  </a:lnTo>
                  <a:lnTo>
                    <a:pt x="737" y="134"/>
                  </a:lnTo>
                  <a:lnTo>
                    <a:pt x="737" y="125"/>
                  </a:lnTo>
                  <a:lnTo>
                    <a:pt x="724" y="121"/>
                  </a:lnTo>
                  <a:lnTo>
                    <a:pt x="733" y="116"/>
                  </a:lnTo>
                  <a:lnTo>
                    <a:pt x="724" y="112"/>
                  </a:lnTo>
                  <a:lnTo>
                    <a:pt x="724" y="107"/>
                  </a:lnTo>
                  <a:lnTo>
                    <a:pt x="746" y="107"/>
                  </a:lnTo>
                  <a:lnTo>
                    <a:pt x="750" y="103"/>
                  </a:lnTo>
                  <a:lnTo>
                    <a:pt x="719" y="89"/>
                  </a:lnTo>
                  <a:lnTo>
                    <a:pt x="728" y="85"/>
                  </a:lnTo>
                  <a:lnTo>
                    <a:pt x="710" y="67"/>
                  </a:lnTo>
                  <a:lnTo>
                    <a:pt x="701" y="76"/>
                  </a:lnTo>
                  <a:lnTo>
                    <a:pt x="697" y="76"/>
                  </a:lnTo>
                  <a:close/>
                  <a:moveTo>
                    <a:pt x="777" y="670"/>
                  </a:moveTo>
                  <a:lnTo>
                    <a:pt x="800" y="666"/>
                  </a:lnTo>
                  <a:lnTo>
                    <a:pt x="804" y="688"/>
                  </a:lnTo>
                  <a:lnTo>
                    <a:pt x="817" y="675"/>
                  </a:lnTo>
                  <a:lnTo>
                    <a:pt x="822" y="666"/>
                  </a:lnTo>
                  <a:lnTo>
                    <a:pt x="831" y="652"/>
                  </a:lnTo>
                  <a:lnTo>
                    <a:pt x="849" y="657"/>
                  </a:lnTo>
                  <a:lnTo>
                    <a:pt x="844" y="666"/>
                  </a:lnTo>
                  <a:lnTo>
                    <a:pt x="867" y="670"/>
                  </a:lnTo>
                  <a:lnTo>
                    <a:pt x="876" y="661"/>
                  </a:lnTo>
                  <a:lnTo>
                    <a:pt x="867" y="652"/>
                  </a:lnTo>
                  <a:lnTo>
                    <a:pt x="853" y="652"/>
                  </a:lnTo>
                  <a:lnTo>
                    <a:pt x="853" y="639"/>
                  </a:lnTo>
                  <a:lnTo>
                    <a:pt x="822" y="612"/>
                  </a:lnTo>
                  <a:lnTo>
                    <a:pt x="817" y="608"/>
                  </a:lnTo>
                  <a:lnTo>
                    <a:pt x="813" y="617"/>
                  </a:lnTo>
                  <a:lnTo>
                    <a:pt x="804" y="599"/>
                  </a:lnTo>
                  <a:lnTo>
                    <a:pt x="800" y="594"/>
                  </a:lnTo>
                  <a:lnTo>
                    <a:pt x="791" y="612"/>
                  </a:lnTo>
                  <a:lnTo>
                    <a:pt x="786" y="634"/>
                  </a:lnTo>
                  <a:lnTo>
                    <a:pt x="791" y="657"/>
                  </a:lnTo>
                  <a:lnTo>
                    <a:pt x="777" y="657"/>
                  </a:lnTo>
                  <a:lnTo>
                    <a:pt x="777" y="670"/>
                  </a:lnTo>
                  <a:close/>
                  <a:moveTo>
                    <a:pt x="791" y="0"/>
                  </a:moveTo>
                  <a:lnTo>
                    <a:pt x="800" y="13"/>
                  </a:lnTo>
                  <a:lnTo>
                    <a:pt x="809" y="18"/>
                  </a:lnTo>
                  <a:lnTo>
                    <a:pt x="826" y="18"/>
                  </a:lnTo>
                  <a:lnTo>
                    <a:pt x="831" y="31"/>
                  </a:lnTo>
                  <a:lnTo>
                    <a:pt x="791" y="22"/>
                  </a:lnTo>
                  <a:lnTo>
                    <a:pt x="782" y="4"/>
                  </a:lnTo>
                  <a:lnTo>
                    <a:pt x="768" y="0"/>
                  </a:lnTo>
                  <a:lnTo>
                    <a:pt x="755" y="9"/>
                  </a:lnTo>
                  <a:lnTo>
                    <a:pt x="768" y="31"/>
                  </a:lnTo>
                  <a:lnTo>
                    <a:pt x="777" y="31"/>
                  </a:lnTo>
                  <a:lnTo>
                    <a:pt x="777" y="40"/>
                  </a:lnTo>
                  <a:lnTo>
                    <a:pt x="759" y="45"/>
                  </a:lnTo>
                  <a:lnTo>
                    <a:pt x="746" y="62"/>
                  </a:lnTo>
                  <a:lnTo>
                    <a:pt x="742" y="80"/>
                  </a:lnTo>
                  <a:lnTo>
                    <a:pt x="759" y="89"/>
                  </a:lnTo>
                  <a:lnTo>
                    <a:pt x="782" y="98"/>
                  </a:lnTo>
                  <a:lnTo>
                    <a:pt x="809" y="98"/>
                  </a:lnTo>
                  <a:lnTo>
                    <a:pt x="809" y="89"/>
                  </a:lnTo>
                  <a:lnTo>
                    <a:pt x="817" y="85"/>
                  </a:lnTo>
                  <a:lnTo>
                    <a:pt x="822" y="76"/>
                  </a:lnTo>
                  <a:lnTo>
                    <a:pt x="831" y="94"/>
                  </a:lnTo>
                  <a:lnTo>
                    <a:pt x="858" y="85"/>
                  </a:lnTo>
                  <a:lnTo>
                    <a:pt x="867" y="94"/>
                  </a:lnTo>
                  <a:lnTo>
                    <a:pt x="862" y="107"/>
                  </a:lnTo>
                  <a:lnTo>
                    <a:pt x="867" y="112"/>
                  </a:lnTo>
                  <a:lnTo>
                    <a:pt x="893" y="89"/>
                  </a:lnTo>
                  <a:lnTo>
                    <a:pt x="907" y="71"/>
                  </a:lnTo>
                  <a:lnTo>
                    <a:pt x="907" y="58"/>
                  </a:lnTo>
                  <a:lnTo>
                    <a:pt x="889" y="58"/>
                  </a:lnTo>
                  <a:lnTo>
                    <a:pt x="889" y="40"/>
                  </a:lnTo>
                  <a:lnTo>
                    <a:pt x="867" y="36"/>
                  </a:lnTo>
                  <a:lnTo>
                    <a:pt x="853" y="45"/>
                  </a:lnTo>
                  <a:lnTo>
                    <a:pt x="849" y="40"/>
                  </a:lnTo>
                  <a:lnTo>
                    <a:pt x="858" y="36"/>
                  </a:lnTo>
                  <a:lnTo>
                    <a:pt x="849" y="22"/>
                  </a:lnTo>
                  <a:lnTo>
                    <a:pt x="858" y="18"/>
                  </a:lnTo>
                  <a:lnTo>
                    <a:pt x="871" y="31"/>
                  </a:lnTo>
                  <a:lnTo>
                    <a:pt x="902" y="31"/>
                  </a:lnTo>
                  <a:lnTo>
                    <a:pt x="911" y="18"/>
                  </a:lnTo>
                  <a:lnTo>
                    <a:pt x="907" y="18"/>
                  </a:lnTo>
                  <a:lnTo>
                    <a:pt x="911" y="4"/>
                  </a:lnTo>
                  <a:lnTo>
                    <a:pt x="925" y="0"/>
                  </a:lnTo>
                  <a:lnTo>
                    <a:pt x="791" y="0"/>
                  </a:lnTo>
                  <a:close/>
                  <a:moveTo>
                    <a:pt x="831" y="693"/>
                  </a:moveTo>
                  <a:lnTo>
                    <a:pt x="822" y="706"/>
                  </a:lnTo>
                  <a:lnTo>
                    <a:pt x="826" y="715"/>
                  </a:lnTo>
                  <a:lnTo>
                    <a:pt x="835" y="715"/>
                  </a:lnTo>
                  <a:lnTo>
                    <a:pt x="849" y="697"/>
                  </a:lnTo>
                  <a:lnTo>
                    <a:pt x="849" y="688"/>
                  </a:lnTo>
                  <a:lnTo>
                    <a:pt x="844" y="688"/>
                  </a:lnTo>
                  <a:lnTo>
                    <a:pt x="840" y="693"/>
                  </a:lnTo>
                  <a:lnTo>
                    <a:pt x="831" y="693"/>
                  </a:lnTo>
                  <a:close/>
                  <a:moveTo>
                    <a:pt x="831" y="1122"/>
                  </a:moveTo>
                  <a:lnTo>
                    <a:pt x="849" y="1131"/>
                  </a:lnTo>
                  <a:lnTo>
                    <a:pt x="853" y="1122"/>
                  </a:lnTo>
                  <a:lnTo>
                    <a:pt x="831" y="1122"/>
                  </a:lnTo>
                  <a:close/>
                  <a:moveTo>
                    <a:pt x="871" y="438"/>
                  </a:moveTo>
                  <a:lnTo>
                    <a:pt x="880" y="451"/>
                  </a:lnTo>
                  <a:lnTo>
                    <a:pt x="889" y="442"/>
                  </a:lnTo>
                  <a:lnTo>
                    <a:pt x="889" y="433"/>
                  </a:lnTo>
                  <a:lnTo>
                    <a:pt x="902" y="429"/>
                  </a:lnTo>
                  <a:lnTo>
                    <a:pt x="898" y="411"/>
                  </a:lnTo>
                  <a:lnTo>
                    <a:pt x="889" y="402"/>
                  </a:lnTo>
                  <a:lnTo>
                    <a:pt x="893" y="398"/>
                  </a:lnTo>
                  <a:lnTo>
                    <a:pt x="907" y="416"/>
                  </a:lnTo>
                  <a:lnTo>
                    <a:pt x="916" y="416"/>
                  </a:lnTo>
                  <a:lnTo>
                    <a:pt x="916" y="438"/>
                  </a:lnTo>
                  <a:lnTo>
                    <a:pt x="929" y="438"/>
                  </a:lnTo>
                  <a:lnTo>
                    <a:pt x="920" y="447"/>
                  </a:lnTo>
                  <a:lnTo>
                    <a:pt x="943" y="460"/>
                  </a:lnTo>
                  <a:lnTo>
                    <a:pt x="929" y="469"/>
                  </a:lnTo>
                  <a:lnTo>
                    <a:pt x="929" y="483"/>
                  </a:lnTo>
                  <a:lnTo>
                    <a:pt x="947" y="465"/>
                  </a:lnTo>
                  <a:lnTo>
                    <a:pt x="965" y="487"/>
                  </a:lnTo>
                  <a:lnTo>
                    <a:pt x="969" y="500"/>
                  </a:lnTo>
                  <a:lnTo>
                    <a:pt x="983" y="500"/>
                  </a:lnTo>
                  <a:lnTo>
                    <a:pt x="992" y="527"/>
                  </a:lnTo>
                  <a:lnTo>
                    <a:pt x="1005" y="527"/>
                  </a:lnTo>
                  <a:lnTo>
                    <a:pt x="992" y="532"/>
                  </a:lnTo>
                  <a:lnTo>
                    <a:pt x="983" y="559"/>
                  </a:lnTo>
                  <a:lnTo>
                    <a:pt x="1005" y="559"/>
                  </a:lnTo>
                  <a:lnTo>
                    <a:pt x="1010" y="541"/>
                  </a:lnTo>
                  <a:lnTo>
                    <a:pt x="1036" y="572"/>
                  </a:lnTo>
                  <a:lnTo>
                    <a:pt x="1010" y="585"/>
                  </a:lnTo>
                  <a:lnTo>
                    <a:pt x="1001" y="567"/>
                  </a:lnTo>
                  <a:lnTo>
                    <a:pt x="978" y="563"/>
                  </a:lnTo>
                  <a:lnTo>
                    <a:pt x="960" y="585"/>
                  </a:lnTo>
                  <a:lnTo>
                    <a:pt x="974" y="594"/>
                  </a:lnTo>
                  <a:lnTo>
                    <a:pt x="974" y="612"/>
                  </a:lnTo>
                  <a:lnTo>
                    <a:pt x="965" y="608"/>
                  </a:lnTo>
                  <a:lnTo>
                    <a:pt x="934" y="612"/>
                  </a:lnTo>
                  <a:lnTo>
                    <a:pt x="916" y="603"/>
                  </a:lnTo>
                  <a:lnTo>
                    <a:pt x="902" y="626"/>
                  </a:lnTo>
                  <a:lnTo>
                    <a:pt x="902" y="639"/>
                  </a:lnTo>
                  <a:lnTo>
                    <a:pt x="911" y="648"/>
                  </a:lnTo>
                  <a:lnTo>
                    <a:pt x="925" y="648"/>
                  </a:lnTo>
                  <a:lnTo>
                    <a:pt x="929" y="643"/>
                  </a:lnTo>
                  <a:lnTo>
                    <a:pt x="965" y="643"/>
                  </a:lnTo>
                  <a:lnTo>
                    <a:pt x="1001" y="666"/>
                  </a:lnTo>
                  <a:lnTo>
                    <a:pt x="992" y="675"/>
                  </a:lnTo>
                  <a:lnTo>
                    <a:pt x="996" y="688"/>
                  </a:lnTo>
                  <a:lnTo>
                    <a:pt x="1010" y="688"/>
                  </a:lnTo>
                  <a:lnTo>
                    <a:pt x="1014" y="697"/>
                  </a:lnTo>
                  <a:lnTo>
                    <a:pt x="1005" y="693"/>
                  </a:lnTo>
                  <a:lnTo>
                    <a:pt x="1010" y="706"/>
                  </a:lnTo>
                  <a:lnTo>
                    <a:pt x="1018" y="706"/>
                  </a:lnTo>
                  <a:lnTo>
                    <a:pt x="1023" y="697"/>
                  </a:lnTo>
                  <a:lnTo>
                    <a:pt x="1081" y="724"/>
                  </a:lnTo>
                  <a:lnTo>
                    <a:pt x="1081" y="710"/>
                  </a:lnTo>
                  <a:lnTo>
                    <a:pt x="1041" y="666"/>
                  </a:lnTo>
                  <a:lnTo>
                    <a:pt x="1041" y="657"/>
                  </a:lnTo>
                  <a:lnTo>
                    <a:pt x="1094" y="693"/>
                  </a:lnTo>
                  <a:lnTo>
                    <a:pt x="1103" y="661"/>
                  </a:lnTo>
                  <a:lnTo>
                    <a:pt x="1094" y="634"/>
                  </a:lnTo>
                  <a:lnTo>
                    <a:pt x="1072" y="626"/>
                  </a:lnTo>
                  <a:lnTo>
                    <a:pt x="1050" y="590"/>
                  </a:lnTo>
                  <a:lnTo>
                    <a:pt x="1063" y="590"/>
                  </a:lnTo>
                  <a:lnTo>
                    <a:pt x="1063" y="585"/>
                  </a:lnTo>
                  <a:lnTo>
                    <a:pt x="1063" y="581"/>
                  </a:lnTo>
                  <a:lnTo>
                    <a:pt x="1072" y="576"/>
                  </a:lnTo>
                  <a:lnTo>
                    <a:pt x="1103" y="621"/>
                  </a:lnTo>
                  <a:lnTo>
                    <a:pt x="1117" y="626"/>
                  </a:lnTo>
                  <a:lnTo>
                    <a:pt x="1117" y="599"/>
                  </a:lnTo>
                  <a:lnTo>
                    <a:pt x="1135" y="603"/>
                  </a:lnTo>
                  <a:lnTo>
                    <a:pt x="1139" y="585"/>
                  </a:lnTo>
                  <a:lnTo>
                    <a:pt x="1152" y="567"/>
                  </a:lnTo>
                  <a:lnTo>
                    <a:pt x="1139" y="545"/>
                  </a:lnTo>
                  <a:lnTo>
                    <a:pt x="1121" y="541"/>
                  </a:lnTo>
                  <a:lnTo>
                    <a:pt x="1121" y="532"/>
                  </a:lnTo>
                  <a:lnTo>
                    <a:pt x="1094" y="505"/>
                  </a:lnTo>
                  <a:lnTo>
                    <a:pt x="1068" y="500"/>
                  </a:lnTo>
                  <a:lnTo>
                    <a:pt x="1068" y="487"/>
                  </a:lnTo>
                  <a:lnTo>
                    <a:pt x="1054" y="487"/>
                  </a:lnTo>
                  <a:lnTo>
                    <a:pt x="1054" y="456"/>
                  </a:lnTo>
                  <a:lnTo>
                    <a:pt x="1068" y="460"/>
                  </a:lnTo>
                  <a:lnTo>
                    <a:pt x="1077" y="451"/>
                  </a:lnTo>
                  <a:lnTo>
                    <a:pt x="1054" y="438"/>
                  </a:lnTo>
                  <a:lnTo>
                    <a:pt x="1068" y="433"/>
                  </a:lnTo>
                  <a:lnTo>
                    <a:pt x="1054" y="411"/>
                  </a:lnTo>
                  <a:lnTo>
                    <a:pt x="1041" y="420"/>
                  </a:lnTo>
                  <a:lnTo>
                    <a:pt x="1050" y="407"/>
                  </a:lnTo>
                  <a:lnTo>
                    <a:pt x="1023" y="398"/>
                  </a:lnTo>
                  <a:lnTo>
                    <a:pt x="1005" y="407"/>
                  </a:lnTo>
                  <a:lnTo>
                    <a:pt x="1014" y="389"/>
                  </a:lnTo>
                  <a:lnTo>
                    <a:pt x="1014" y="375"/>
                  </a:lnTo>
                  <a:lnTo>
                    <a:pt x="1005" y="375"/>
                  </a:lnTo>
                  <a:lnTo>
                    <a:pt x="1010" y="362"/>
                  </a:lnTo>
                  <a:lnTo>
                    <a:pt x="1005" y="353"/>
                  </a:lnTo>
                  <a:lnTo>
                    <a:pt x="983" y="344"/>
                  </a:lnTo>
                  <a:lnTo>
                    <a:pt x="978" y="357"/>
                  </a:lnTo>
                  <a:lnTo>
                    <a:pt x="969" y="335"/>
                  </a:lnTo>
                  <a:lnTo>
                    <a:pt x="956" y="344"/>
                  </a:lnTo>
                  <a:lnTo>
                    <a:pt x="956" y="335"/>
                  </a:lnTo>
                  <a:lnTo>
                    <a:pt x="965" y="326"/>
                  </a:lnTo>
                  <a:lnTo>
                    <a:pt x="960" y="317"/>
                  </a:lnTo>
                  <a:lnTo>
                    <a:pt x="951" y="317"/>
                  </a:lnTo>
                  <a:lnTo>
                    <a:pt x="947" y="313"/>
                  </a:lnTo>
                  <a:lnTo>
                    <a:pt x="951" y="308"/>
                  </a:lnTo>
                  <a:lnTo>
                    <a:pt x="951" y="295"/>
                  </a:lnTo>
                  <a:lnTo>
                    <a:pt x="920" y="281"/>
                  </a:lnTo>
                  <a:lnTo>
                    <a:pt x="907" y="295"/>
                  </a:lnTo>
                  <a:lnTo>
                    <a:pt x="911" y="304"/>
                  </a:lnTo>
                  <a:lnTo>
                    <a:pt x="902" y="304"/>
                  </a:lnTo>
                  <a:lnTo>
                    <a:pt x="902" y="313"/>
                  </a:lnTo>
                  <a:lnTo>
                    <a:pt x="889" y="304"/>
                  </a:lnTo>
                  <a:lnTo>
                    <a:pt x="884" y="308"/>
                  </a:lnTo>
                  <a:lnTo>
                    <a:pt x="880" y="299"/>
                  </a:lnTo>
                  <a:lnTo>
                    <a:pt x="871" y="326"/>
                  </a:lnTo>
                  <a:lnTo>
                    <a:pt x="871" y="290"/>
                  </a:lnTo>
                  <a:lnTo>
                    <a:pt x="867" y="268"/>
                  </a:lnTo>
                  <a:lnTo>
                    <a:pt x="862" y="264"/>
                  </a:lnTo>
                  <a:lnTo>
                    <a:pt x="858" y="241"/>
                  </a:lnTo>
                  <a:lnTo>
                    <a:pt x="840" y="241"/>
                  </a:lnTo>
                  <a:lnTo>
                    <a:pt x="809" y="259"/>
                  </a:lnTo>
                  <a:lnTo>
                    <a:pt x="813" y="268"/>
                  </a:lnTo>
                  <a:lnTo>
                    <a:pt x="804" y="273"/>
                  </a:lnTo>
                  <a:lnTo>
                    <a:pt x="804" y="304"/>
                  </a:lnTo>
                  <a:lnTo>
                    <a:pt x="809" y="308"/>
                  </a:lnTo>
                  <a:lnTo>
                    <a:pt x="804" y="331"/>
                  </a:lnTo>
                  <a:lnTo>
                    <a:pt x="804" y="344"/>
                  </a:lnTo>
                  <a:lnTo>
                    <a:pt x="817" y="344"/>
                  </a:lnTo>
                  <a:lnTo>
                    <a:pt x="813" y="371"/>
                  </a:lnTo>
                  <a:lnTo>
                    <a:pt x="795" y="375"/>
                  </a:lnTo>
                  <a:lnTo>
                    <a:pt x="795" y="371"/>
                  </a:lnTo>
                  <a:lnTo>
                    <a:pt x="809" y="362"/>
                  </a:lnTo>
                  <a:lnTo>
                    <a:pt x="804" y="357"/>
                  </a:lnTo>
                  <a:lnTo>
                    <a:pt x="791" y="322"/>
                  </a:lnTo>
                  <a:lnTo>
                    <a:pt x="795" y="304"/>
                  </a:lnTo>
                  <a:lnTo>
                    <a:pt x="791" y="290"/>
                  </a:lnTo>
                  <a:lnTo>
                    <a:pt x="809" y="241"/>
                  </a:lnTo>
                  <a:lnTo>
                    <a:pt x="791" y="237"/>
                  </a:lnTo>
                  <a:lnTo>
                    <a:pt x="755" y="264"/>
                  </a:lnTo>
                  <a:lnTo>
                    <a:pt x="737" y="322"/>
                  </a:lnTo>
                  <a:lnTo>
                    <a:pt x="737" y="366"/>
                  </a:lnTo>
                  <a:lnTo>
                    <a:pt x="768" y="371"/>
                  </a:lnTo>
                  <a:lnTo>
                    <a:pt x="777" y="384"/>
                  </a:lnTo>
                  <a:lnTo>
                    <a:pt x="759" y="380"/>
                  </a:lnTo>
                  <a:lnTo>
                    <a:pt x="742" y="380"/>
                  </a:lnTo>
                  <a:lnTo>
                    <a:pt x="759" y="416"/>
                  </a:lnTo>
                  <a:lnTo>
                    <a:pt x="773" y="420"/>
                  </a:lnTo>
                  <a:lnTo>
                    <a:pt x="786" y="411"/>
                  </a:lnTo>
                  <a:lnTo>
                    <a:pt x="800" y="429"/>
                  </a:lnTo>
                  <a:lnTo>
                    <a:pt x="831" y="429"/>
                  </a:lnTo>
                  <a:lnTo>
                    <a:pt x="853" y="438"/>
                  </a:lnTo>
                  <a:lnTo>
                    <a:pt x="858" y="429"/>
                  </a:lnTo>
                  <a:lnTo>
                    <a:pt x="871" y="438"/>
                  </a:lnTo>
                  <a:close/>
                  <a:moveTo>
                    <a:pt x="880" y="702"/>
                  </a:moveTo>
                  <a:lnTo>
                    <a:pt x="871" y="715"/>
                  </a:lnTo>
                  <a:lnTo>
                    <a:pt x="871" y="724"/>
                  </a:lnTo>
                  <a:lnTo>
                    <a:pt x="880" y="728"/>
                  </a:lnTo>
                  <a:lnTo>
                    <a:pt x="884" y="733"/>
                  </a:lnTo>
                  <a:lnTo>
                    <a:pt x="889" y="706"/>
                  </a:lnTo>
                  <a:lnTo>
                    <a:pt x="884" y="702"/>
                  </a:lnTo>
                  <a:lnTo>
                    <a:pt x="880" y="702"/>
                  </a:lnTo>
                  <a:close/>
                  <a:moveTo>
                    <a:pt x="934" y="496"/>
                  </a:moveTo>
                  <a:lnTo>
                    <a:pt x="920" y="514"/>
                  </a:lnTo>
                  <a:lnTo>
                    <a:pt x="920" y="536"/>
                  </a:lnTo>
                  <a:lnTo>
                    <a:pt x="929" y="536"/>
                  </a:lnTo>
                  <a:lnTo>
                    <a:pt x="943" y="536"/>
                  </a:lnTo>
                  <a:lnTo>
                    <a:pt x="951" y="523"/>
                  </a:lnTo>
                  <a:lnTo>
                    <a:pt x="947" y="505"/>
                  </a:lnTo>
                  <a:lnTo>
                    <a:pt x="951" y="496"/>
                  </a:lnTo>
                  <a:lnTo>
                    <a:pt x="934" y="496"/>
                  </a:lnTo>
                  <a:close/>
                  <a:moveTo>
                    <a:pt x="956" y="1148"/>
                  </a:moveTo>
                  <a:lnTo>
                    <a:pt x="1001" y="1144"/>
                  </a:lnTo>
                  <a:lnTo>
                    <a:pt x="1014" y="1122"/>
                  </a:lnTo>
                  <a:lnTo>
                    <a:pt x="1032" y="1095"/>
                  </a:lnTo>
                  <a:lnTo>
                    <a:pt x="1036" y="1099"/>
                  </a:lnTo>
                  <a:lnTo>
                    <a:pt x="1045" y="1095"/>
                  </a:lnTo>
                  <a:lnTo>
                    <a:pt x="1054" y="1135"/>
                  </a:lnTo>
                  <a:lnTo>
                    <a:pt x="1063" y="1139"/>
                  </a:lnTo>
                  <a:lnTo>
                    <a:pt x="1077" y="1139"/>
                  </a:lnTo>
                  <a:lnTo>
                    <a:pt x="1094" y="1135"/>
                  </a:lnTo>
                  <a:lnTo>
                    <a:pt x="1108" y="1139"/>
                  </a:lnTo>
                  <a:lnTo>
                    <a:pt x="1099" y="1139"/>
                  </a:lnTo>
                  <a:lnTo>
                    <a:pt x="1081" y="1153"/>
                  </a:lnTo>
                  <a:lnTo>
                    <a:pt x="1077" y="1166"/>
                  </a:lnTo>
                  <a:lnTo>
                    <a:pt x="1090" y="1175"/>
                  </a:lnTo>
                  <a:lnTo>
                    <a:pt x="1103" y="1153"/>
                  </a:lnTo>
                  <a:lnTo>
                    <a:pt x="1117" y="1157"/>
                  </a:lnTo>
                  <a:lnTo>
                    <a:pt x="1152" y="1139"/>
                  </a:lnTo>
                  <a:lnTo>
                    <a:pt x="1152" y="1131"/>
                  </a:lnTo>
                  <a:lnTo>
                    <a:pt x="1157" y="1135"/>
                  </a:lnTo>
                  <a:lnTo>
                    <a:pt x="1166" y="1131"/>
                  </a:lnTo>
                  <a:lnTo>
                    <a:pt x="1175" y="1122"/>
                  </a:lnTo>
                  <a:lnTo>
                    <a:pt x="1170" y="1117"/>
                  </a:lnTo>
                  <a:lnTo>
                    <a:pt x="1166" y="1117"/>
                  </a:lnTo>
                  <a:lnTo>
                    <a:pt x="1161" y="1122"/>
                  </a:lnTo>
                  <a:lnTo>
                    <a:pt x="1166" y="1099"/>
                  </a:lnTo>
                  <a:lnTo>
                    <a:pt x="1157" y="1099"/>
                  </a:lnTo>
                  <a:lnTo>
                    <a:pt x="1148" y="1122"/>
                  </a:lnTo>
                  <a:lnTo>
                    <a:pt x="1152" y="1131"/>
                  </a:lnTo>
                  <a:lnTo>
                    <a:pt x="1139" y="1126"/>
                  </a:lnTo>
                  <a:lnTo>
                    <a:pt x="1126" y="1131"/>
                  </a:lnTo>
                  <a:lnTo>
                    <a:pt x="1108" y="1122"/>
                  </a:lnTo>
                  <a:lnTo>
                    <a:pt x="1094" y="1104"/>
                  </a:lnTo>
                  <a:lnTo>
                    <a:pt x="1099" y="1090"/>
                  </a:lnTo>
                  <a:lnTo>
                    <a:pt x="1094" y="1086"/>
                  </a:lnTo>
                  <a:lnTo>
                    <a:pt x="1085" y="1095"/>
                  </a:lnTo>
                  <a:lnTo>
                    <a:pt x="1077" y="1081"/>
                  </a:lnTo>
                  <a:lnTo>
                    <a:pt x="1077" y="1077"/>
                  </a:lnTo>
                  <a:lnTo>
                    <a:pt x="1090" y="1081"/>
                  </a:lnTo>
                  <a:lnTo>
                    <a:pt x="1108" y="1072"/>
                  </a:lnTo>
                  <a:lnTo>
                    <a:pt x="1103" y="1059"/>
                  </a:lnTo>
                  <a:lnTo>
                    <a:pt x="1094" y="1055"/>
                  </a:lnTo>
                  <a:lnTo>
                    <a:pt x="1085" y="1050"/>
                  </a:lnTo>
                  <a:lnTo>
                    <a:pt x="1077" y="1055"/>
                  </a:lnTo>
                  <a:lnTo>
                    <a:pt x="1045" y="1068"/>
                  </a:lnTo>
                  <a:lnTo>
                    <a:pt x="1023" y="1095"/>
                  </a:lnTo>
                  <a:lnTo>
                    <a:pt x="1014" y="1108"/>
                  </a:lnTo>
                  <a:lnTo>
                    <a:pt x="996" y="1113"/>
                  </a:lnTo>
                  <a:lnTo>
                    <a:pt x="956" y="1148"/>
                  </a:lnTo>
                  <a:close/>
                  <a:moveTo>
                    <a:pt x="1085" y="733"/>
                  </a:moveTo>
                  <a:lnTo>
                    <a:pt x="1099" y="746"/>
                  </a:lnTo>
                  <a:lnTo>
                    <a:pt x="1103" y="733"/>
                  </a:lnTo>
                  <a:lnTo>
                    <a:pt x="1099" y="728"/>
                  </a:lnTo>
                  <a:lnTo>
                    <a:pt x="1085" y="733"/>
                  </a:lnTo>
                  <a:close/>
                  <a:moveTo>
                    <a:pt x="1103" y="1041"/>
                  </a:moveTo>
                  <a:lnTo>
                    <a:pt x="1117" y="1050"/>
                  </a:lnTo>
                  <a:lnTo>
                    <a:pt x="1117" y="1055"/>
                  </a:lnTo>
                  <a:lnTo>
                    <a:pt x="1144" y="1059"/>
                  </a:lnTo>
                  <a:lnTo>
                    <a:pt x="1144" y="1050"/>
                  </a:lnTo>
                  <a:lnTo>
                    <a:pt x="1130" y="1046"/>
                  </a:lnTo>
                  <a:lnTo>
                    <a:pt x="1108" y="1041"/>
                  </a:lnTo>
                  <a:lnTo>
                    <a:pt x="1103" y="1041"/>
                  </a:lnTo>
                  <a:close/>
                  <a:moveTo>
                    <a:pt x="1112" y="1099"/>
                  </a:moveTo>
                  <a:lnTo>
                    <a:pt x="1103" y="1108"/>
                  </a:lnTo>
                  <a:lnTo>
                    <a:pt x="1117" y="1122"/>
                  </a:lnTo>
                  <a:lnTo>
                    <a:pt x="1130" y="1122"/>
                  </a:lnTo>
                  <a:lnTo>
                    <a:pt x="1139" y="1113"/>
                  </a:lnTo>
                  <a:lnTo>
                    <a:pt x="1117" y="1113"/>
                  </a:lnTo>
                  <a:lnTo>
                    <a:pt x="1112" y="1099"/>
                  </a:lnTo>
                  <a:close/>
                  <a:moveTo>
                    <a:pt x="1237" y="996"/>
                  </a:moveTo>
                  <a:lnTo>
                    <a:pt x="1228" y="996"/>
                  </a:lnTo>
                  <a:lnTo>
                    <a:pt x="1215" y="1005"/>
                  </a:lnTo>
                  <a:lnTo>
                    <a:pt x="1211" y="1010"/>
                  </a:lnTo>
                  <a:lnTo>
                    <a:pt x="1184" y="1068"/>
                  </a:lnTo>
                  <a:lnTo>
                    <a:pt x="1188" y="1072"/>
                  </a:lnTo>
                  <a:lnTo>
                    <a:pt x="1175" y="1081"/>
                  </a:lnTo>
                  <a:lnTo>
                    <a:pt x="1179" y="1090"/>
                  </a:lnTo>
                  <a:lnTo>
                    <a:pt x="1215" y="1090"/>
                  </a:lnTo>
                  <a:lnTo>
                    <a:pt x="1224" y="1086"/>
                  </a:lnTo>
                  <a:lnTo>
                    <a:pt x="1228" y="1090"/>
                  </a:lnTo>
                  <a:lnTo>
                    <a:pt x="1233" y="1086"/>
                  </a:lnTo>
                  <a:lnTo>
                    <a:pt x="1237" y="1086"/>
                  </a:lnTo>
                  <a:lnTo>
                    <a:pt x="1224" y="1104"/>
                  </a:lnTo>
                  <a:lnTo>
                    <a:pt x="1233" y="1104"/>
                  </a:lnTo>
                  <a:lnTo>
                    <a:pt x="1237" y="1095"/>
                  </a:lnTo>
                  <a:lnTo>
                    <a:pt x="1251" y="1081"/>
                  </a:lnTo>
                  <a:lnTo>
                    <a:pt x="1246" y="1099"/>
                  </a:lnTo>
                  <a:lnTo>
                    <a:pt x="1246" y="1108"/>
                  </a:lnTo>
                  <a:lnTo>
                    <a:pt x="1255" y="1095"/>
                  </a:lnTo>
                  <a:lnTo>
                    <a:pt x="1260" y="1108"/>
                  </a:lnTo>
                  <a:lnTo>
                    <a:pt x="1269" y="1104"/>
                  </a:lnTo>
                  <a:lnTo>
                    <a:pt x="1273" y="1095"/>
                  </a:lnTo>
                  <a:lnTo>
                    <a:pt x="1273" y="1086"/>
                  </a:lnTo>
                  <a:lnTo>
                    <a:pt x="1264" y="1095"/>
                  </a:lnTo>
                  <a:lnTo>
                    <a:pt x="1269" y="1077"/>
                  </a:lnTo>
                  <a:lnTo>
                    <a:pt x="1255" y="1086"/>
                  </a:lnTo>
                  <a:lnTo>
                    <a:pt x="1260" y="1077"/>
                  </a:lnTo>
                  <a:lnTo>
                    <a:pt x="1269" y="1072"/>
                  </a:lnTo>
                  <a:lnTo>
                    <a:pt x="1269" y="1063"/>
                  </a:lnTo>
                  <a:lnTo>
                    <a:pt x="1255" y="1072"/>
                  </a:lnTo>
                  <a:lnTo>
                    <a:pt x="1255" y="1063"/>
                  </a:lnTo>
                  <a:lnTo>
                    <a:pt x="1260" y="1055"/>
                  </a:lnTo>
                  <a:lnTo>
                    <a:pt x="1251" y="1046"/>
                  </a:lnTo>
                  <a:lnTo>
                    <a:pt x="1237" y="1055"/>
                  </a:lnTo>
                  <a:lnTo>
                    <a:pt x="1228" y="1055"/>
                  </a:lnTo>
                  <a:lnTo>
                    <a:pt x="1233" y="1037"/>
                  </a:lnTo>
                  <a:lnTo>
                    <a:pt x="1224" y="1032"/>
                  </a:lnTo>
                  <a:lnTo>
                    <a:pt x="1215" y="1050"/>
                  </a:lnTo>
                  <a:lnTo>
                    <a:pt x="1211" y="1046"/>
                  </a:lnTo>
                  <a:lnTo>
                    <a:pt x="1228" y="1019"/>
                  </a:lnTo>
                  <a:lnTo>
                    <a:pt x="1237" y="996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5" name="Freeform 269"/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gray">
            <a:xfrm>
              <a:off x="2460625" y="5295900"/>
              <a:ext cx="169863" cy="881063"/>
            </a:xfrm>
            <a:custGeom>
              <a:avLst/>
              <a:gdLst>
                <a:gd name="T0" fmla="*/ 2147483647 w 125"/>
                <a:gd name="T1" fmla="*/ 2147483647 h 724"/>
                <a:gd name="T2" fmla="*/ 2147483647 w 125"/>
                <a:gd name="T3" fmla="*/ 2147483647 h 724"/>
                <a:gd name="T4" fmla="*/ 2147483647 w 125"/>
                <a:gd name="T5" fmla="*/ 2147483647 h 724"/>
                <a:gd name="T6" fmla="*/ 2147483647 w 125"/>
                <a:gd name="T7" fmla="*/ 2147483647 h 724"/>
                <a:gd name="T8" fmla="*/ 2147483647 w 125"/>
                <a:gd name="T9" fmla="*/ 2147483647 h 724"/>
                <a:gd name="T10" fmla="*/ 2147483647 w 125"/>
                <a:gd name="T11" fmla="*/ 2147483647 h 724"/>
                <a:gd name="T12" fmla="*/ 2147483647 w 125"/>
                <a:gd name="T13" fmla="*/ 2147483647 h 724"/>
                <a:gd name="T14" fmla="*/ 2147483647 w 125"/>
                <a:gd name="T15" fmla="*/ 2147483647 h 724"/>
                <a:gd name="T16" fmla="*/ 2147483647 w 125"/>
                <a:gd name="T17" fmla="*/ 2147483647 h 724"/>
                <a:gd name="T18" fmla="*/ 2147483647 w 125"/>
                <a:gd name="T19" fmla="*/ 2147483647 h 724"/>
                <a:gd name="T20" fmla="*/ 2147483647 w 125"/>
                <a:gd name="T21" fmla="*/ 2147483647 h 724"/>
                <a:gd name="T22" fmla="*/ 2147483647 w 125"/>
                <a:gd name="T23" fmla="*/ 2147483647 h 724"/>
                <a:gd name="T24" fmla="*/ 2147483647 w 125"/>
                <a:gd name="T25" fmla="*/ 2147483647 h 724"/>
                <a:gd name="T26" fmla="*/ 2147483647 w 125"/>
                <a:gd name="T27" fmla="*/ 2147483647 h 724"/>
                <a:gd name="T28" fmla="*/ 2147483647 w 125"/>
                <a:gd name="T29" fmla="*/ 2147483647 h 724"/>
                <a:gd name="T30" fmla="*/ 2147483647 w 125"/>
                <a:gd name="T31" fmla="*/ 2147483647 h 724"/>
                <a:gd name="T32" fmla="*/ 2147483647 w 125"/>
                <a:gd name="T33" fmla="*/ 2147483647 h 724"/>
                <a:gd name="T34" fmla="*/ 2147483647 w 125"/>
                <a:gd name="T35" fmla="*/ 2147483647 h 724"/>
                <a:gd name="T36" fmla="*/ 2147483647 w 125"/>
                <a:gd name="T37" fmla="*/ 2147483647 h 724"/>
                <a:gd name="T38" fmla="*/ 2147483647 w 125"/>
                <a:gd name="T39" fmla="*/ 2147483647 h 724"/>
                <a:gd name="T40" fmla="*/ 2147483647 w 125"/>
                <a:gd name="T41" fmla="*/ 2147483647 h 724"/>
                <a:gd name="T42" fmla="*/ 2147483647 w 125"/>
                <a:gd name="T43" fmla="*/ 2147483647 h 724"/>
                <a:gd name="T44" fmla="*/ 2147483647 w 125"/>
                <a:gd name="T45" fmla="*/ 2147483647 h 724"/>
                <a:gd name="T46" fmla="*/ 2147483647 w 125"/>
                <a:gd name="T47" fmla="*/ 2147483647 h 724"/>
                <a:gd name="T48" fmla="*/ 2147483647 w 125"/>
                <a:gd name="T49" fmla="*/ 2147483647 h 724"/>
                <a:gd name="T50" fmla="*/ 2147483647 w 125"/>
                <a:gd name="T51" fmla="*/ 2147483647 h 724"/>
                <a:gd name="T52" fmla="*/ 2147483647 w 125"/>
                <a:gd name="T53" fmla="*/ 2147483647 h 724"/>
                <a:gd name="T54" fmla="*/ 2147483647 w 125"/>
                <a:gd name="T55" fmla="*/ 2147483647 h 724"/>
                <a:gd name="T56" fmla="*/ 2147483647 w 125"/>
                <a:gd name="T57" fmla="*/ 2147483647 h 724"/>
                <a:gd name="T58" fmla="*/ 2147483647 w 125"/>
                <a:gd name="T59" fmla="*/ 2147483647 h 724"/>
                <a:gd name="T60" fmla="*/ 2147483647 w 125"/>
                <a:gd name="T61" fmla="*/ 2147483647 h 724"/>
                <a:gd name="T62" fmla="*/ 2147483647 w 125"/>
                <a:gd name="T63" fmla="*/ 2147483647 h 724"/>
                <a:gd name="T64" fmla="*/ 2147483647 w 125"/>
                <a:gd name="T65" fmla="*/ 2147483647 h 724"/>
                <a:gd name="T66" fmla="*/ 2147483647 w 125"/>
                <a:gd name="T67" fmla="*/ 2147483647 h 724"/>
                <a:gd name="T68" fmla="*/ 2147483647 w 125"/>
                <a:gd name="T69" fmla="*/ 2147483647 h 724"/>
                <a:gd name="T70" fmla="*/ 2147483647 w 125"/>
                <a:gd name="T71" fmla="*/ 2147483647 h 724"/>
                <a:gd name="T72" fmla="*/ 2147483647 w 125"/>
                <a:gd name="T73" fmla="*/ 2147483647 h 724"/>
                <a:gd name="T74" fmla="*/ 2147483647 w 125"/>
                <a:gd name="T75" fmla="*/ 2147483647 h 724"/>
                <a:gd name="T76" fmla="*/ 2147483647 w 125"/>
                <a:gd name="T77" fmla="*/ 2147483647 h 724"/>
                <a:gd name="T78" fmla="*/ 2147483647 w 125"/>
                <a:gd name="T79" fmla="*/ 2147483647 h 724"/>
                <a:gd name="T80" fmla="*/ 2147483647 w 125"/>
                <a:gd name="T81" fmla="*/ 2147483647 h 724"/>
                <a:gd name="T82" fmla="*/ 2147483647 w 125"/>
                <a:gd name="T83" fmla="*/ 2147483647 h 724"/>
                <a:gd name="T84" fmla="*/ 2147483647 w 125"/>
                <a:gd name="T85" fmla="*/ 2147483647 h 724"/>
                <a:gd name="T86" fmla="*/ 2147483647 w 125"/>
                <a:gd name="T87" fmla="*/ 2147483647 h 724"/>
                <a:gd name="T88" fmla="*/ 2147483647 w 125"/>
                <a:gd name="T89" fmla="*/ 2147483647 h 724"/>
                <a:gd name="T90" fmla="*/ 2147483647 w 125"/>
                <a:gd name="T91" fmla="*/ 2147483647 h 724"/>
                <a:gd name="T92" fmla="*/ 2147483647 w 125"/>
                <a:gd name="T93" fmla="*/ 2147483647 h 724"/>
                <a:gd name="T94" fmla="*/ 2147483647 w 125"/>
                <a:gd name="T95" fmla="*/ 2147483647 h 72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5"/>
                <a:gd name="T145" fmla="*/ 0 h 724"/>
                <a:gd name="T146" fmla="*/ 125 w 125"/>
                <a:gd name="T147" fmla="*/ 724 h 72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5" h="724">
                  <a:moveTo>
                    <a:pt x="71" y="9"/>
                  </a:moveTo>
                  <a:lnTo>
                    <a:pt x="71" y="31"/>
                  </a:lnTo>
                  <a:lnTo>
                    <a:pt x="71" y="80"/>
                  </a:lnTo>
                  <a:lnTo>
                    <a:pt x="67" y="85"/>
                  </a:lnTo>
                  <a:lnTo>
                    <a:pt x="67" y="121"/>
                  </a:lnTo>
                  <a:lnTo>
                    <a:pt x="67" y="125"/>
                  </a:lnTo>
                  <a:lnTo>
                    <a:pt x="67" y="138"/>
                  </a:lnTo>
                  <a:lnTo>
                    <a:pt x="54" y="183"/>
                  </a:lnTo>
                  <a:lnTo>
                    <a:pt x="58" y="197"/>
                  </a:lnTo>
                  <a:lnTo>
                    <a:pt x="49" y="205"/>
                  </a:lnTo>
                  <a:lnTo>
                    <a:pt x="54" y="241"/>
                  </a:lnTo>
                  <a:lnTo>
                    <a:pt x="49" y="250"/>
                  </a:lnTo>
                  <a:lnTo>
                    <a:pt x="54" y="259"/>
                  </a:lnTo>
                  <a:lnTo>
                    <a:pt x="27" y="326"/>
                  </a:lnTo>
                  <a:lnTo>
                    <a:pt x="31" y="375"/>
                  </a:lnTo>
                  <a:lnTo>
                    <a:pt x="22" y="380"/>
                  </a:lnTo>
                  <a:lnTo>
                    <a:pt x="27" y="398"/>
                  </a:lnTo>
                  <a:lnTo>
                    <a:pt x="27" y="407"/>
                  </a:lnTo>
                  <a:lnTo>
                    <a:pt x="22" y="411"/>
                  </a:lnTo>
                  <a:lnTo>
                    <a:pt x="22" y="442"/>
                  </a:lnTo>
                  <a:lnTo>
                    <a:pt x="27" y="438"/>
                  </a:lnTo>
                  <a:lnTo>
                    <a:pt x="31" y="416"/>
                  </a:lnTo>
                  <a:lnTo>
                    <a:pt x="40" y="416"/>
                  </a:lnTo>
                  <a:lnTo>
                    <a:pt x="27" y="465"/>
                  </a:lnTo>
                  <a:lnTo>
                    <a:pt x="27" y="451"/>
                  </a:lnTo>
                  <a:lnTo>
                    <a:pt x="22" y="456"/>
                  </a:lnTo>
                  <a:lnTo>
                    <a:pt x="9" y="500"/>
                  </a:lnTo>
                  <a:lnTo>
                    <a:pt x="0" y="509"/>
                  </a:lnTo>
                  <a:lnTo>
                    <a:pt x="0" y="523"/>
                  </a:lnTo>
                  <a:lnTo>
                    <a:pt x="4" y="518"/>
                  </a:lnTo>
                  <a:lnTo>
                    <a:pt x="9" y="509"/>
                  </a:lnTo>
                  <a:lnTo>
                    <a:pt x="22" y="518"/>
                  </a:lnTo>
                  <a:lnTo>
                    <a:pt x="18" y="527"/>
                  </a:lnTo>
                  <a:lnTo>
                    <a:pt x="4" y="541"/>
                  </a:lnTo>
                  <a:lnTo>
                    <a:pt x="4" y="603"/>
                  </a:lnTo>
                  <a:lnTo>
                    <a:pt x="13" y="599"/>
                  </a:lnTo>
                  <a:lnTo>
                    <a:pt x="4" y="617"/>
                  </a:lnTo>
                  <a:lnTo>
                    <a:pt x="9" y="643"/>
                  </a:lnTo>
                  <a:lnTo>
                    <a:pt x="18" y="626"/>
                  </a:lnTo>
                  <a:lnTo>
                    <a:pt x="18" y="648"/>
                  </a:lnTo>
                  <a:lnTo>
                    <a:pt x="27" y="643"/>
                  </a:lnTo>
                  <a:lnTo>
                    <a:pt x="27" y="652"/>
                  </a:lnTo>
                  <a:lnTo>
                    <a:pt x="40" y="657"/>
                  </a:lnTo>
                  <a:lnTo>
                    <a:pt x="36" y="661"/>
                  </a:lnTo>
                  <a:lnTo>
                    <a:pt x="49" y="666"/>
                  </a:lnTo>
                  <a:lnTo>
                    <a:pt x="63" y="675"/>
                  </a:lnTo>
                  <a:lnTo>
                    <a:pt x="67" y="648"/>
                  </a:lnTo>
                  <a:lnTo>
                    <a:pt x="85" y="643"/>
                  </a:lnTo>
                  <a:lnTo>
                    <a:pt x="89" y="634"/>
                  </a:lnTo>
                  <a:lnTo>
                    <a:pt x="49" y="630"/>
                  </a:lnTo>
                  <a:lnTo>
                    <a:pt x="40" y="621"/>
                  </a:lnTo>
                  <a:lnTo>
                    <a:pt x="40" y="603"/>
                  </a:lnTo>
                  <a:lnTo>
                    <a:pt x="31" y="603"/>
                  </a:lnTo>
                  <a:lnTo>
                    <a:pt x="27" y="576"/>
                  </a:lnTo>
                  <a:lnTo>
                    <a:pt x="36" y="559"/>
                  </a:lnTo>
                  <a:lnTo>
                    <a:pt x="40" y="554"/>
                  </a:lnTo>
                  <a:lnTo>
                    <a:pt x="49" y="509"/>
                  </a:lnTo>
                  <a:lnTo>
                    <a:pt x="49" y="491"/>
                  </a:lnTo>
                  <a:lnTo>
                    <a:pt x="58" y="483"/>
                  </a:lnTo>
                  <a:lnTo>
                    <a:pt x="49" y="474"/>
                  </a:lnTo>
                  <a:lnTo>
                    <a:pt x="58" y="474"/>
                  </a:lnTo>
                  <a:lnTo>
                    <a:pt x="58" y="465"/>
                  </a:lnTo>
                  <a:lnTo>
                    <a:pt x="49" y="465"/>
                  </a:lnTo>
                  <a:lnTo>
                    <a:pt x="54" y="442"/>
                  </a:lnTo>
                  <a:lnTo>
                    <a:pt x="49" y="429"/>
                  </a:lnTo>
                  <a:lnTo>
                    <a:pt x="54" y="416"/>
                  </a:lnTo>
                  <a:lnTo>
                    <a:pt x="49" y="393"/>
                  </a:lnTo>
                  <a:lnTo>
                    <a:pt x="49" y="375"/>
                  </a:lnTo>
                  <a:lnTo>
                    <a:pt x="54" y="371"/>
                  </a:lnTo>
                  <a:lnTo>
                    <a:pt x="54" y="357"/>
                  </a:lnTo>
                  <a:lnTo>
                    <a:pt x="63" y="353"/>
                  </a:lnTo>
                  <a:lnTo>
                    <a:pt x="58" y="317"/>
                  </a:lnTo>
                  <a:lnTo>
                    <a:pt x="67" y="304"/>
                  </a:lnTo>
                  <a:lnTo>
                    <a:pt x="71" y="281"/>
                  </a:lnTo>
                  <a:lnTo>
                    <a:pt x="80" y="268"/>
                  </a:lnTo>
                  <a:lnTo>
                    <a:pt x="80" y="250"/>
                  </a:lnTo>
                  <a:lnTo>
                    <a:pt x="76" y="250"/>
                  </a:lnTo>
                  <a:lnTo>
                    <a:pt x="67" y="223"/>
                  </a:lnTo>
                  <a:lnTo>
                    <a:pt x="71" y="210"/>
                  </a:lnTo>
                  <a:lnTo>
                    <a:pt x="80" y="205"/>
                  </a:lnTo>
                  <a:lnTo>
                    <a:pt x="76" y="188"/>
                  </a:lnTo>
                  <a:lnTo>
                    <a:pt x="85" y="161"/>
                  </a:lnTo>
                  <a:lnTo>
                    <a:pt x="94" y="147"/>
                  </a:lnTo>
                  <a:lnTo>
                    <a:pt x="89" y="138"/>
                  </a:lnTo>
                  <a:lnTo>
                    <a:pt x="94" y="112"/>
                  </a:lnTo>
                  <a:lnTo>
                    <a:pt x="116" y="98"/>
                  </a:lnTo>
                  <a:lnTo>
                    <a:pt x="116" y="80"/>
                  </a:lnTo>
                  <a:lnTo>
                    <a:pt x="107" y="76"/>
                  </a:lnTo>
                  <a:lnTo>
                    <a:pt x="94" y="40"/>
                  </a:lnTo>
                  <a:lnTo>
                    <a:pt x="94" y="22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9"/>
                  </a:lnTo>
                  <a:close/>
                  <a:moveTo>
                    <a:pt x="71" y="666"/>
                  </a:moveTo>
                  <a:lnTo>
                    <a:pt x="71" y="670"/>
                  </a:lnTo>
                  <a:lnTo>
                    <a:pt x="67" y="675"/>
                  </a:lnTo>
                  <a:lnTo>
                    <a:pt x="67" y="679"/>
                  </a:lnTo>
                  <a:lnTo>
                    <a:pt x="71" y="679"/>
                  </a:lnTo>
                  <a:lnTo>
                    <a:pt x="71" y="675"/>
                  </a:lnTo>
                  <a:lnTo>
                    <a:pt x="76" y="675"/>
                  </a:lnTo>
                  <a:lnTo>
                    <a:pt x="71" y="666"/>
                  </a:lnTo>
                  <a:close/>
                  <a:moveTo>
                    <a:pt x="98" y="643"/>
                  </a:moveTo>
                  <a:lnTo>
                    <a:pt x="89" y="643"/>
                  </a:lnTo>
                  <a:lnTo>
                    <a:pt x="76" y="648"/>
                  </a:lnTo>
                  <a:lnTo>
                    <a:pt x="76" y="666"/>
                  </a:lnTo>
                  <a:lnTo>
                    <a:pt x="89" y="661"/>
                  </a:lnTo>
                  <a:lnTo>
                    <a:pt x="80" y="670"/>
                  </a:lnTo>
                  <a:lnTo>
                    <a:pt x="80" y="679"/>
                  </a:lnTo>
                  <a:lnTo>
                    <a:pt x="94" y="693"/>
                  </a:lnTo>
                  <a:lnTo>
                    <a:pt x="67" y="684"/>
                  </a:lnTo>
                  <a:lnTo>
                    <a:pt x="13" y="648"/>
                  </a:lnTo>
                  <a:lnTo>
                    <a:pt x="13" y="657"/>
                  </a:lnTo>
                  <a:lnTo>
                    <a:pt x="31" y="666"/>
                  </a:lnTo>
                  <a:lnTo>
                    <a:pt x="27" y="670"/>
                  </a:lnTo>
                  <a:lnTo>
                    <a:pt x="31" y="679"/>
                  </a:lnTo>
                  <a:lnTo>
                    <a:pt x="40" y="684"/>
                  </a:lnTo>
                  <a:lnTo>
                    <a:pt x="49" y="679"/>
                  </a:lnTo>
                  <a:lnTo>
                    <a:pt x="63" y="688"/>
                  </a:lnTo>
                  <a:lnTo>
                    <a:pt x="49" y="688"/>
                  </a:lnTo>
                  <a:lnTo>
                    <a:pt x="54" y="697"/>
                  </a:lnTo>
                  <a:lnTo>
                    <a:pt x="63" y="693"/>
                  </a:lnTo>
                  <a:lnTo>
                    <a:pt x="71" y="697"/>
                  </a:lnTo>
                  <a:lnTo>
                    <a:pt x="71" y="702"/>
                  </a:lnTo>
                  <a:lnTo>
                    <a:pt x="63" y="702"/>
                  </a:lnTo>
                  <a:lnTo>
                    <a:pt x="76" y="706"/>
                  </a:lnTo>
                  <a:lnTo>
                    <a:pt x="76" y="702"/>
                  </a:lnTo>
                  <a:lnTo>
                    <a:pt x="80" y="706"/>
                  </a:lnTo>
                  <a:lnTo>
                    <a:pt x="76" y="715"/>
                  </a:lnTo>
                  <a:lnTo>
                    <a:pt x="89" y="724"/>
                  </a:lnTo>
                  <a:lnTo>
                    <a:pt x="89" y="715"/>
                  </a:lnTo>
                  <a:lnTo>
                    <a:pt x="94" y="715"/>
                  </a:lnTo>
                  <a:lnTo>
                    <a:pt x="94" y="724"/>
                  </a:lnTo>
                  <a:lnTo>
                    <a:pt x="103" y="719"/>
                  </a:lnTo>
                  <a:lnTo>
                    <a:pt x="107" y="724"/>
                  </a:lnTo>
                  <a:lnTo>
                    <a:pt x="107" y="715"/>
                  </a:lnTo>
                  <a:lnTo>
                    <a:pt x="103" y="715"/>
                  </a:lnTo>
                  <a:lnTo>
                    <a:pt x="103" y="706"/>
                  </a:lnTo>
                  <a:lnTo>
                    <a:pt x="107" y="710"/>
                  </a:lnTo>
                  <a:lnTo>
                    <a:pt x="121" y="715"/>
                  </a:lnTo>
                  <a:lnTo>
                    <a:pt x="125" y="710"/>
                  </a:lnTo>
                  <a:lnTo>
                    <a:pt x="121" y="706"/>
                  </a:lnTo>
                  <a:lnTo>
                    <a:pt x="103" y="702"/>
                  </a:lnTo>
                  <a:lnTo>
                    <a:pt x="94" y="702"/>
                  </a:lnTo>
                  <a:lnTo>
                    <a:pt x="98" y="702"/>
                  </a:lnTo>
                  <a:lnTo>
                    <a:pt x="98" y="64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6" name="Freeform 270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2381250" y="4751388"/>
              <a:ext cx="244475" cy="298450"/>
            </a:xfrm>
            <a:custGeom>
              <a:avLst/>
              <a:gdLst>
                <a:gd name="T0" fmla="*/ 2147483647 w 179"/>
                <a:gd name="T1" fmla="*/ 2147483647 h 246"/>
                <a:gd name="T2" fmla="*/ 2147483647 w 179"/>
                <a:gd name="T3" fmla="*/ 2147483647 h 246"/>
                <a:gd name="T4" fmla="*/ 2147483647 w 179"/>
                <a:gd name="T5" fmla="*/ 2147483647 h 246"/>
                <a:gd name="T6" fmla="*/ 2147483647 w 179"/>
                <a:gd name="T7" fmla="*/ 2147483647 h 246"/>
                <a:gd name="T8" fmla="*/ 2147483647 w 179"/>
                <a:gd name="T9" fmla="*/ 2147483647 h 246"/>
                <a:gd name="T10" fmla="*/ 2147483647 w 179"/>
                <a:gd name="T11" fmla="*/ 2147483647 h 246"/>
                <a:gd name="T12" fmla="*/ 2147483647 w 179"/>
                <a:gd name="T13" fmla="*/ 2147483647 h 246"/>
                <a:gd name="T14" fmla="*/ 2147483647 w 179"/>
                <a:gd name="T15" fmla="*/ 2147483647 h 246"/>
                <a:gd name="T16" fmla="*/ 2147483647 w 179"/>
                <a:gd name="T17" fmla="*/ 2147483647 h 246"/>
                <a:gd name="T18" fmla="*/ 2147483647 w 179"/>
                <a:gd name="T19" fmla="*/ 2147483647 h 246"/>
                <a:gd name="T20" fmla="*/ 2147483647 w 179"/>
                <a:gd name="T21" fmla="*/ 2147483647 h 246"/>
                <a:gd name="T22" fmla="*/ 2147483647 w 179"/>
                <a:gd name="T23" fmla="*/ 2147483647 h 246"/>
                <a:gd name="T24" fmla="*/ 2147483647 w 179"/>
                <a:gd name="T25" fmla="*/ 2147483647 h 246"/>
                <a:gd name="T26" fmla="*/ 2147483647 w 179"/>
                <a:gd name="T27" fmla="*/ 2147483647 h 246"/>
                <a:gd name="T28" fmla="*/ 2147483647 w 179"/>
                <a:gd name="T29" fmla="*/ 2147483647 h 246"/>
                <a:gd name="T30" fmla="*/ 2147483647 w 179"/>
                <a:gd name="T31" fmla="*/ 2147483647 h 246"/>
                <a:gd name="T32" fmla="*/ 2147483647 w 179"/>
                <a:gd name="T33" fmla="*/ 2147483647 h 246"/>
                <a:gd name="T34" fmla="*/ 2147483647 w 179"/>
                <a:gd name="T35" fmla="*/ 2147483647 h 246"/>
                <a:gd name="T36" fmla="*/ 2147483647 w 179"/>
                <a:gd name="T37" fmla="*/ 2147483647 h 246"/>
                <a:gd name="T38" fmla="*/ 2147483647 w 179"/>
                <a:gd name="T39" fmla="*/ 2147483647 h 246"/>
                <a:gd name="T40" fmla="*/ 2147483647 w 179"/>
                <a:gd name="T41" fmla="*/ 0 h 246"/>
                <a:gd name="T42" fmla="*/ 2147483647 w 179"/>
                <a:gd name="T43" fmla="*/ 2147483647 h 246"/>
                <a:gd name="T44" fmla="*/ 2147483647 w 179"/>
                <a:gd name="T45" fmla="*/ 2147483647 h 246"/>
                <a:gd name="T46" fmla="*/ 2147483647 w 179"/>
                <a:gd name="T47" fmla="*/ 2147483647 h 246"/>
                <a:gd name="T48" fmla="*/ 2147483647 w 179"/>
                <a:gd name="T49" fmla="*/ 2147483647 h 246"/>
                <a:gd name="T50" fmla="*/ 2147483647 w 179"/>
                <a:gd name="T51" fmla="*/ 2147483647 h 246"/>
                <a:gd name="T52" fmla="*/ 2147483647 w 179"/>
                <a:gd name="T53" fmla="*/ 2147483647 h 246"/>
                <a:gd name="T54" fmla="*/ 2147483647 w 179"/>
                <a:gd name="T55" fmla="*/ 2147483647 h 246"/>
                <a:gd name="T56" fmla="*/ 2147483647 w 179"/>
                <a:gd name="T57" fmla="*/ 2147483647 h 246"/>
                <a:gd name="T58" fmla="*/ 2147483647 w 179"/>
                <a:gd name="T59" fmla="*/ 2147483647 h 246"/>
                <a:gd name="T60" fmla="*/ 2147483647 w 179"/>
                <a:gd name="T61" fmla="*/ 2147483647 h 246"/>
                <a:gd name="T62" fmla="*/ 2147483647 w 179"/>
                <a:gd name="T63" fmla="*/ 2147483647 h 246"/>
                <a:gd name="T64" fmla="*/ 0 w 179"/>
                <a:gd name="T65" fmla="*/ 2147483647 h 24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9"/>
                <a:gd name="T100" fmla="*/ 0 h 246"/>
                <a:gd name="T101" fmla="*/ 179 w 179"/>
                <a:gd name="T102" fmla="*/ 246 h 24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9" h="246">
                  <a:moveTo>
                    <a:pt x="9" y="161"/>
                  </a:moveTo>
                  <a:lnTo>
                    <a:pt x="22" y="174"/>
                  </a:lnTo>
                  <a:lnTo>
                    <a:pt x="27" y="179"/>
                  </a:lnTo>
                  <a:lnTo>
                    <a:pt x="36" y="174"/>
                  </a:lnTo>
                  <a:lnTo>
                    <a:pt x="58" y="188"/>
                  </a:lnTo>
                  <a:lnTo>
                    <a:pt x="71" y="192"/>
                  </a:lnTo>
                  <a:lnTo>
                    <a:pt x="94" y="215"/>
                  </a:lnTo>
                  <a:lnTo>
                    <a:pt x="107" y="210"/>
                  </a:lnTo>
                  <a:lnTo>
                    <a:pt x="134" y="219"/>
                  </a:lnTo>
                  <a:lnTo>
                    <a:pt x="121" y="241"/>
                  </a:lnTo>
                  <a:lnTo>
                    <a:pt x="129" y="246"/>
                  </a:lnTo>
                  <a:lnTo>
                    <a:pt x="147" y="201"/>
                  </a:lnTo>
                  <a:lnTo>
                    <a:pt x="143" y="192"/>
                  </a:lnTo>
                  <a:lnTo>
                    <a:pt x="134" y="192"/>
                  </a:lnTo>
                  <a:lnTo>
                    <a:pt x="129" y="183"/>
                  </a:lnTo>
                  <a:lnTo>
                    <a:pt x="143" y="183"/>
                  </a:lnTo>
                  <a:lnTo>
                    <a:pt x="147" y="174"/>
                  </a:lnTo>
                  <a:lnTo>
                    <a:pt x="134" y="174"/>
                  </a:lnTo>
                  <a:lnTo>
                    <a:pt x="138" y="161"/>
                  </a:lnTo>
                  <a:lnTo>
                    <a:pt x="156" y="161"/>
                  </a:lnTo>
                  <a:lnTo>
                    <a:pt x="170" y="152"/>
                  </a:lnTo>
                  <a:lnTo>
                    <a:pt x="170" y="165"/>
                  </a:lnTo>
                  <a:lnTo>
                    <a:pt x="179" y="165"/>
                  </a:lnTo>
                  <a:lnTo>
                    <a:pt x="174" y="143"/>
                  </a:lnTo>
                  <a:lnTo>
                    <a:pt x="161" y="148"/>
                  </a:lnTo>
                  <a:lnTo>
                    <a:pt x="170" y="134"/>
                  </a:lnTo>
                  <a:lnTo>
                    <a:pt x="165" y="130"/>
                  </a:lnTo>
                  <a:lnTo>
                    <a:pt x="165" y="112"/>
                  </a:lnTo>
                  <a:lnTo>
                    <a:pt x="170" y="89"/>
                  </a:lnTo>
                  <a:lnTo>
                    <a:pt x="143" y="94"/>
                  </a:lnTo>
                  <a:lnTo>
                    <a:pt x="134" y="80"/>
                  </a:lnTo>
                  <a:lnTo>
                    <a:pt x="107" y="85"/>
                  </a:lnTo>
                  <a:lnTo>
                    <a:pt x="94" y="72"/>
                  </a:lnTo>
                  <a:lnTo>
                    <a:pt x="98" y="63"/>
                  </a:lnTo>
                  <a:lnTo>
                    <a:pt x="89" y="54"/>
                  </a:lnTo>
                  <a:lnTo>
                    <a:pt x="85" y="54"/>
                  </a:lnTo>
                  <a:lnTo>
                    <a:pt x="89" y="49"/>
                  </a:lnTo>
                  <a:lnTo>
                    <a:pt x="89" y="31"/>
                  </a:lnTo>
                  <a:lnTo>
                    <a:pt x="98" y="18"/>
                  </a:lnTo>
                  <a:lnTo>
                    <a:pt x="107" y="9"/>
                  </a:lnTo>
                  <a:lnTo>
                    <a:pt x="116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85" y="18"/>
                  </a:lnTo>
                  <a:lnTo>
                    <a:pt x="76" y="18"/>
                  </a:lnTo>
                  <a:lnTo>
                    <a:pt x="71" y="22"/>
                  </a:lnTo>
                  <a:lnTo>
                    <a:pt x="62" y="22"/>
                  </a:lnTo>
                  <a:lnTo>
                    <a:pt x="49" y="31"/>
                  </a:lnTo>
                  <a:lnTo>
                    <a:pt x="45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31" y="58"/>
                  </a:lnTo>
                  <a:lnTo>
                    <a:pt x="31" y="72"/>
                  </a:lnTo>
                  <a:lnTo>
                    <a:pt x="27" y="58"/>
                  </a:lnTo>
                  <a:lnTo>
                    <a:pt x="27" y="72"/>
                  </a:lnTo>
                  <a:lnTo>
                    <a:pt x="18" y="76"/>
                  </a:lnTo>
                  <a:lnTo>
                    <a:pt x="27" y="89"/>
                  </a:lnTo>
                  <a:lnTo>
                    <a:pt x="22" y="98"/>
                  </a:lnTo>
                  <a:lnTo>
                    <a:pt x="27" y="121"/>
                  </a:lnTo>
                  <a:lnTo>
                    <a:pt x="27" y="125"/>
                  </a:lnTo>
                  <a:lnTo>
                    <a:pt x="22" y="143"/>
                  </a:lnTo>
                  <a:lnTo>
                    <a:pt x="13" y="143"/>
                  </a:lnTo>
                  <a:lnTo>
                    <a:pt x="9" y="152"/>
                  </a:lnTo>
                  <a:lnTo>
                    <a:pt x="9" y="156"/>
                  </a:lnTo>
                  <a:lnTo>
                    <a:pt x="0" y="161"/>
                  </a:lnTo>
                  <a:lnTo>
                    <a:pt x="9" y="16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7" name="Freeform 271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2252663" y="4778375"/>
              <a:ext cx="66675" cy="49213"/>
            </a:xfrm>
            <a:custGeom>
              <a:avLst/>
              <a:gdLst>
                <a:gd name="T0" fmla="*/ 0 w 49"/>
                <a:gd name="T1" fmla="*/ 0 h 41"/>
                <a:gd name="T2" fmla="*/ 0 w 49"/>
                <a:gd name="T3" fmla="*/ 2147483647 h 41"/>
                <a:gd name="T4" fmla="*/ 2147483647 w 49"/>
                <a:gd name="T5" fmla="*/ 2147483647 h 41"/>
                <a:gd name="T6" fmla="*/ 0 w 49"/>
                <a:gd name="T7" fmla="*/ 2147483647 h 41"/>
                <a:gd name="T8" fmla="*/ 0 w 49"/>
                <a:gd name="T9" fmla="*/ 2147483647 h 41"/>
                <a:gd name="T10" fmla="*/ 2147483647 w 49"/>
                <a:gd name="T11" fmla="*/ 2147483647 h 41"/>
                <a:gd name="T12" fmla="*/ 2147483647 w 49"/>
                <a:gd name="T13" fmla="*/ 2147483647 h 41"/>
                <a:gd name="T14" fmla="*/ 2147483647 w 49"/>
                <a:gd name="T15" fmla="*/ 2147483647 h 41"/>
                <a:gd name="T16" fmla="*/ 2147483647 w 49"/>
                <a:gd name="T17" fmla="*/ 2147483647 h 41"/>
                <a:gd name="T18" fmla="*/ 2147483647 w 49"/>
                <a:gd name="T19" fmla="*/ 2147483647 h 41"/>
                <a:gd name="T20" fmla="*/ 2147483647 w 49"/>
                <a:gd name="T21" fmla="*/ 2147483647 h 41"/>
                <a:gd name="T22" fmla="*/ 2147483647 w 49"/>
                <a:gd name="T23" fmla="*/ 2147483647 h 41"/>
                <a:gd name="T24" fmla="*/ 2147483647 w 49"/>
                <a:gd name="T25" fmla="*/ 2147483647 h 41"/>
                <a:gd name="T26" fmla="*/ 2147483647 w 49"/>
                <a:gd name="T27" fmla="*/ 2147483647 h 41"/>
                <a:gd name="T28" fmla="*/ 2147483647 w 49"/>
                <a:gd name="T29" fmla="*/ 2147483647 h 41"/>
                <a:gd name="T30" fmla="*/ 2147483647 w 49"/>
                <a:gd name="T31" fmla="*/ 2147483647 h 41"/>
                <a:gd name="T32" fmla="*/ 2147483647 w 49"/>
                <a:gd name="T33" fmla="*/ 2147483647 h 41"/>
                <a:gd name="T34" fmla="*/ 2147483647 w 49"/>
                <a:gd name="T35" fmla="*/ 2147483647 h 41"/>
                <a:gd name="T36" fmla="*/ 2147483647 w 49"/>
                <a:gd name="T37" fmla="*/ 2147483647 h 41"/>
                <a:gd name="T38" fmla="*/ 2147483647 w 49"/>
                <a:gd name="T39" fmla="*/ 2147483647 h 41"/>
                <a:gd name="T40" fmla="*/ 2147483647 w 49"/>
                <a:gd name="T41" fmla="*/ 0 h 41"/>
                <a:gd name="T42" fmla="*/ 0 w 49"/>
                <a:gd name="T43" fmla="*/ 0 h 4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9"/>
                <a:gd name="T67" fmla="*/ 0 h 41"/>
                <a:gd name="T68" fmla="*/ 49 w 49"/>
                <a:gd name="T69" fmla="*/ 41 h 4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9" h="41">
                  <a:moveTo>
                    <a:pt x="0" y="0"/>
                  </a:moveTo>
                  <a:lnTo>
                    <a:pt x="0" y="9"/>
                  </a:lnTo>
                  <a:lnTo>
                    <a:pt x="5" y="9"/>
                  </a:lnTo>
                  <a:lnTo>
                    <a:pt x="0" y="14"/>
                  </a:lnTo>
                  <a:lnTo>
                    <a:pt x="0" y="23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18" y="18"/>
                  </a:lnTo>
                  <a:lnTo>
                    <a:pt x="22" y="27"/>
                  </a:lnTo>
                  <a:lnTo>
                    <a:pt x="31" y="36"/>
                  </a:lnTo>
                  <a:lnTo>
                    <a:pt x="31" y="41"/>
                  </a:lnTo>
                  <a:lnTo>
                    <a:pt x="40" y="41"/>
                  </a:lnTo>
                  <a:lnTo>
                    <a:pt x="40" y="36"/>
                  </a:lnTo>
                  <a:lnTo>
                    <a:pt x="40" y="41"/>
                  </a:lnTo>
                  <a:lnTo>
                    <a:pt x="40" y="27"/>
                  </a:lnTo>
                  <a:lnTo>
                    <a:pt x="49" y="23"/>
                  </a:lnTo>
                  <a:lnTo>
                    <a:pt x="40" y="18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8" name="Freeform 272"/>
            <p:cNvSpPr>
              <a:spLocks noEditPoints="1"/>
            </p:cNvSpPr>
            <p:nvPr>
              <p:custDataLst>
                <p:tags r:id="rId28"/>
              </p:custDataLst>
            </p:nvPr>
          </p:nvSpPr>
          <p:spPr bwMode="gray">
            <a:xfrm>
              <a:off x="2271713" y="4549775"/>
              <a:ext cx="219075" cy="71438"/>
            </a:xfrm>
            <a:custGeom>
              <a:avLst/>
              <a:gdLst>
                <a:gd name="T0" fmla="*/ 2147483647 w 160"/>
                <a:gd name="T1" fmla="*/ 2147483647 h 58"/>
                <a:gd name="T2" fmla="*/ 0 w 160"/>
                <a:gd name="T3" fmla="*/ 2147483647 h 58"/>
                <a:gd name="T4" fmla="*/ 2147483647 w 160"/>
                <a:gd name="T5" fmla="*/ 2147483647 h 58"/>
                <a:gd name="T6" fmla="*/ 2147483647 w 160"/>
                <a:gd name="T7" fmla="*/ 2147483647 h 58"/>
                <a:gd name="T8" fmla="*/ 2147483647 w 160"/>
                <a:gd name="T9" fmla="*/ 2147483647 h 58"/>
                <a:gd name="T10" fmla="*/ 2147483647 w 160"/>
                <a:gd name="T11" fmla="*/ 2147483647 h 58"/>
                <a:gd name="T12" fmla="*/ 2147483647 w 160"/>
                <a:gd name="T13" fmla="*/ 2147483647 h 58"/>
                <a:gd name="T14" fmla="*/ 2147483647 w 160"/>
                <a:gd name="T15" fmla="*/ 2147483647 h 58"/>
                <a:gd name="T16" fmla="*/ 2147483647 w 160"/>
                <a:gd name="T17" fmla="*/ 2147483647 h 58"/>
                <a:gd name="T18" fmla="*/ 2147483647 w 160"/>
                <a:gd name="T19" fmla="*/ 2147483647 h 58"/>
                <a:gd name="T20" fmla="*/ 2147483647 w 160"/>
                <a:gd name="T21" fmla="*/ 2147483647 h 58"/>
                <a:gd name="T22" fmla="*/ 2147483647 w 160"/>
                <a:gd name="T23" fmla="*/ 2147483647 h 58"/>
                <a:gd name="T24" fmla="*/ 2147483647 w 160"/>
                <a:gd name="T25" fmla="*/ 2147483647 h 58"/>
                <a:gd name="T26" fmla="*/ 2147483647 w 160"/>
                <a:gd name="T27" fmla="*/ 2147483647 h 58"/>
                <a:gd name="T28" fmla="*/ 2147483647 w 160"/>
                <a:gd name="T29" fmla="*/ 2147483647 h 58"/>
                <a:gd name="T30" fmla="*/ 2147483647 w 160"/>
                <a:gd name="T31" fmla="*/ 2147483647 h 58"/>
                <a:gd name="T32" fmla="*/ 2147483647 w 160"/>
                <a:gd name="T33" fmla="*/ 2147483647 h 58"/>
                <a:gd name="T34" fmla="*/ 2147483647 w 160"/>
                <a:gd name="T35" fmla="*/ 2147483647 h 58"/>
                <a:gd name="T36" fmla="*/ 2147483647 w 160"/>
                <a:gd name="T37" fmla="*/ 2147483647 h 58"/>
                <a:gd name="T38" fmla="*/ 2147483647 w 160"/>
                <a:gd name="T39" fmla="*/ 2147483647 h 58"/>
                <a:gd name="T40" fmla="*/ 2147483647 w 160"/>
                <a:gd name="T41" fmla="*/ 2147483647 h 58"/>
                <a:gd name="T42" fmla="*/ 2147483647 w 160"/>
                <a:gd name="T43" fmla="*/ 2147483647 h 58"/>
                <a:gd name="T44" fmla="*/ 2147483647 w 160"/>
                <a:gd name="T45" fmla="*/ 2147483647 h 58"/>
                <a:gd name="T46" fmla="*/ 2147483647 w 160"/>
                <a:gd name="T47" fmla="*/ 2147483647 h 58"/>
                <a:gd name="T48" fmla="*/ 2147483647 w 160"/>
                <a:gd name="T49" fmla="*/ 2147483647 h 58"/>
                <a:gd name="T50" fmla="*/ 2147483647 w 160"/>
                <a:gd name="T51" fmla="*/ 2147483647 h 58"/>
                <a:gd name="T52" fmla="*/ 2147483647 w 160"/>
                <a:gd name="T53" fmla="*/ 2147483647 h 58"/>
                <a:gd name="T54" fmla="*/ 2147483647 w 160"/>
                <a:gd name="T55" fmla="*/ 2147483647 h 58"/>
                <a:gd name="T56" fmla="*/ 2147483647 w 160"/>
                <a:gd name="T57" fmla="*/ 2147483647 h 58"/>
                <a:gd name="T58" fmla="*/ 2147483647 w 160"/>
                <a:gd name="T59" fmla="*/ 0 h 58"/>
                <a:gd name="T60" fmla="*/ 2147483647 w 160"/>
                <a:gd name="T61" fmla="*/ 0 h 58"/>
                <a:gd name="T62" fmla="*/ 2147483647 w 160"/>
                <a:gd name="T63" fmla="*/ 2147483647 h 58"/>
                <a:gd name="T64" fmla="*/ 2147483647 w 160"/>
                <a:gd name="T65" fmla="*/ 2147483647 h 58"/>
                <a:gd name="T66" fmla="*/ 2147483647 w 160"/>
                <a:gd name="T67" fmla="*/ 2147483647 h 58"/>
                <a:gd name="T68" fmla="*/ 2147483647 w 160"/>
                <a:gd name="T69" fmla="*/ 2147483647 h 58"/>
                <a:gd name="T70" fmla="*/ 2147483647 w 160"/>
                <a:gd name="T71" fmla="*/ 2147483647 h 58"/>
                <a:gd name="T72" fmla="*/ 2147483647 w 160"/>
                <a:gd name="T73" fmla="*/ 2147483647 h 58"/>
                <a:gd name="T74" fmla="*/ 2147483647 w 160"/>
                <a:gd name="T75" fmla="*/ 2147483647 h 58"/>
                <a:gd name="T76" fmla="*/ 2147483647 w 160"/>
                <a:gd name="T77" fmla="*/ 2147483647 h 58"/>
                <a:gd name="T78" fmla="*/ 2147483647 w 160"/>
                <a:gd name="T79" fmla="*/ 2147483647 h 5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60"/>
                <a:gd name="T121" fmla="*/ 0 h 58"/>
                <a:gd name="T122" fmla="*/ 160 w 160"/>
                <a:gd name="T123" fmla="*/ 58 h 5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60" h="58">
                  <a:moveTo>
                    <a:pt x="8" y="18"/>
                  </a:moveTo>
                  <a:lnTo>
                    <a:pt x="0" y="22"/>
                  </a:lnTo>
                  <a:lnTo>
                    <a:pt x="4" y="27"/>
                  </a:lnTo>
                  <a:lnTo>
                    <a:pt x="17" y="22"/>
                  </a:lnTo>
                  <a:lnTo>
                    <a:pt x="17" y="18"/>
                  </a:lnTo>
                  <a:lnTo>
                    <a:pt x="31" y="18"/>
                  </a:lnTo>
                  <a:lnTo>
                    <a:pt x="35" y="13"/>
                  </a:lnTo>
                  <a:lnTo>
                    <a:pt x="44" y="13"/>
                  </a:lnTo>
                  <a:lnTo>
                    <a:pt x="40" y="18"/>
                  </a:lnTo>
                  <a:lnTo>
                    <a:pt x="53" y="18"/>
                  </a:lnTo>
                  <a:lnTo>
                    <a:pt x="80" y="27"/>
                  </a:lnTo>
                  <a:lnTo>
                    <a:pt x="89" y="27"/>
                  </a:lnTo>
                  <a:lnTo>
                    <a:pt x="93" y="40"/>
                  </a:lnTo>
                  <a:lnTo>
                    <a:pt x="102" y="44"/>
                  </a:lnTo>
                  <a:lnTo>
                    <a:pt x="107" y="40"/>
                  </a:lnTo>
                  <a:lnTo>
                    <a:pt x="111" y="49"/>
                  </a:lnTo>
                  <a:lnTo>
                    <a:pt x="98" y="58"/>
                  </a:lnTo>
                  <a:lnTo>
                    <a:pt x="147" y="58"/>
                  </a:lnTo>
                  <a:lnTo>
                    <a:pt x="160" y="53"/>
                  </a:lnTo>
                  <a:lnTo>
                    <a:pt x="156" y="44"/>
                  </a:lnTo>
                  <a:lnTo>
                    <a:pt x="134" y="44"/>
                  </a:lnTo>
                  <a:lnTo>
                    <a:pt x="134" y="31"/>
                  </a:lnTo>
                  <a:lnTo>
                    <a:pt x="125" y="35"/>
                  </a:lnTo>
                  <a:lnTo>
                    <a:pt x="107" y="18"/>
                  </a:lnTo>
                  <a:lnTo>
                    <a:pt x="102" y="9"/>
                  </a:lnTo>
                  <a:lnTo>
                    <a:pt x="98" y="9"/>
                  </a:lnTo>
                  <a:lnTo>
                    <a:pt x="98" y="13"/>
                  </a:lnTo>
                  <a:lnTo>
                    <a:pt x="84" y="9"/>
                  </a:lnTo>
                  <a:lnTo>
                    <a:pt x="80" y="13"/>
                  </a:lnTo>
                  <a:lnTo>
                    <a:pt x="67" y="0"/>
                  </a:lnTo>
                  <a:lnTo>
                    <a:pt x="40" y="0"/>
                  </a:lnTo>
                  <a:lnTo>
                    <a:pt x="8" y="9"/>
                  </a:lnTo>
                  <a:lnTo>
                    <a:pt x="8" y="18"/>
                  </a:lnTo>
                  <a:close/>
                  <a:moveTo>
                    <a:pt x="31" y="22"/>
                  </a:moveTo>
                  <a:lnTo>
                    <a:pt x="31" y="27"/>
                  </a:lnTo>
                  <a:lnTo>
                    <a:pt x="22" y="27"/>
                  </a:lnTo>
                  <a:lnTo>
                    <a:pt x="31" y="31"/>
                  </a:lnTo>
                  <a:lnTo>
                    <a:pt x="35" y="27"/>
                  </a:lnTo>
                  <a:lnTo>
                    <a:pt x="35" y="22"/>
                  </a:lnTo>
                  <a:lnTo>
                    <a:pt x="31" y="2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19" name="Freeform 273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2520950" y="4621213"/>
              <a:ext cx="73025" cy="42862"/>
            </a:xfrm>
            <a:custGeom>
              <a:avLst/>
              <a:gdLst>
                <a:gd name="T0" fmla="*/ 0 w 53"/>
                <a:gd name="T1" fmla="*/ 2147483647 h 36"/>
                <a:gd name="T2" fmla="*/ 2147483647 w 53"/>
                <a:gd name="T3" fmla="*/ 2147483647 h 36"/>
                <a:gd name="T4" fmla="*/ 2147483647 w 53"/>
                <a:gd name="T5" fmla="*/ 2147483647 h 36"/>
                <a:gd name="T6" fmla="*/ 2147483647 w 53"/>
                <a:gd name="T7" fmla="*/ 2147483647 h 36"/>
                <a:gd name="T8" fmla="*/ 2147483647 w 53"/>
                <a:gd name="T9" fmla="*/ 2147483647 h 36"/>
                <a:gd name="T10" fmla="*/ 2147483647 w 53"/>
                <a:gd name="T11" fmla="*/ 2147483647 h 36"/>
                <a:gd name="T12" fmla="*/ 2147483647 w 53"/>
                <a:gd name="T13" fmla="*/ 2147483647 h 36"/>
                <a:gd name="T14" fmla="*/ 2147483647 w 53"/>
                <a:gd name="T15" fmla="*/ 2147483647 h 36"/>
                <a:gd name="T16" fmla="*/ 2147483647 w 53"/>
                <a:gd name="T17" fmla="*/ 2147483647 h 36"/>
                <a:gd name="T18" fmla="*/ 2147483647 w 53"/>
                <a:gd name="T19" fmla="*/ 2147483647 h 36"/>
                <a:gd name="T20" fmla="*/ 2147483647 w 53"/>
                <a:gd name="T21" fmla="*/ 2147483647 h 36"/>
                <a:gd name="T22" fmla="*/ 2147483647 w 53"/>
                <a:gd name="T23" fmla="*/ 2147483647 h 36"/>
                <a:gd name="T24" fmla="*/ 2147483647 w 53"/>
                <a:gd name="T25" fmla="*/ 2147483647 h 36"/>
                <a:gd name="T26" fmla="*/ 2147483647 w 53"/>
                <a:gd name="T27" fmla="*/ 0 h 36"/>
                <a:gd name="T28" fmla="*/ 2147483647 w 53"/>
                <a:gd name="T29" fmla="*/ 0 h 36"/>
                <a:gd name="T30" fmla="*/ 2147483647 w 53"/>
                <a:gd name="T31" fmla="*/ 0 h 36"/>
                <a:gd name="T32" fmla="*/ 2147483647 w 53"/>
                <a:gd name="T33" fmla="*/ 0 h 36"/>
                <a:gd name="T34" fmla="*/ 2147483647 w 53"/>
                <a:gd name="T35" fmla="*/ 2147483647 h 36"/>
                <a:gd name="T36" fmla="*/ 0 w 53"/>
                <a:gd name="T37" fmla="*/ 2147483647 h 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3"/>
                <a:gd name="T58" fmla="*/ 0 h 36"/>
                <a:gd name="T59" fmla="*/ 53 w 53"/>
                <a:gd name="T60" fmla="*/ 36 h 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3" h="36">
                  <a:moveTo>
                    <a:pt x="0" y="22"/>
                  </a:moveTo>
                  <a:lnTo>
                    <a:pt x="13" y="36"/>
                  </a:lnTo>
                  <a:lnTo>
                    <a:pt x="18" y="22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35" y="18"/>
                  </a:lnTo>
                  <a:lnTo>
                    <a:pt x="44" y="18"/>
                  </a:lnTo>
                  <a:lnTo>
                    <a:pt x="49" y="22"/>
                  </a:lnTo>
                  <a:lnTo>
                    <a:pt x="53" y="18"/>
                  </a:lnTo>
                  <a:lnTo>
                    <a:pt x="53" y="13"/>
                  </a:lnTo>
                  <a:lnTo>
                    <a:pt x="44" y="9"/>
                  </a:lnTo>
                  <a:lnTo>
                    <a:pt x="40" y="4"/>
                  </a:lnTo>
                  <a:lnTo>
                    <a:pt x="35" y="4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4" y="9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0" name="Freeform 274"/>
            <p:cNvSpPr>
              <a:spLocks noEditPoints="1"/>
            </p:cNvSpPr>
            <p:nvPr>
              <p:custDataLst>
                <p:tags r:id="rId30"/>
              </p:custDataLst>
            </p:nvPr>
          </p:nvSpPr>
          <p:spPr bwMode="gray">
            <a:xfrm>
              <a:off x="2143125" y="4946650"/>
              <a:ext cx="317500" cy="114300"/>
            </a:xfrm>
            <a:custGeom>
              <a:avLst/>
              <a:gdLst>
                <a:gd name="T0" fmla="*/ 2147483647 w 232"/>
                <a:gd name="T1" fmla="*/ 2147483647 h 94"/>
                <a:gd name="T2" fmla="*/ 0 w 232"/>
                <a:gd name="T3" fmla="*/ 2147483647 h 94"/>
                <a:gd name="T4" fmla="*/ 2147483647 w 232"/>
                <a:gd name="T5" fmla="*/ 2147483647 h 94"/>
                <a:gd name="T6" fmla="*/ 0 w 232"/>
                <a:gd name="T7" fmla="*/ 2147483647 h 94"/>
                <a:gd name="T8" fmla="*/ 2147483647 w 232"/>
                <a:gd name="T9" fmla="*/ 2147483647 h 94"/>
                <a:gd name="T10" fmla="*/ 2147483647 w 232"/>
                <a:gd name="T11" fmla="*/ 2147483647 h 94"/>
                <a:gd name="T12" fmla="*/ 2147483647 w 232"/>
                <a:gd name="T13" fmla="*/ 2147483647 h 94"/>
                <a:gd name="T14" fmla="*/ 2147483647 w 232"/>
                <a:gd name="T15" fmla="*/ 2147483647 h 94"/>
                <a:gd name="T16" fmla="*/ 2147483647 w 232"/>
                <a:gd name="T17" fmla="*/ 2147483647 h 94"/>
                <a:gd name="T18" fmla="*/ 2147483647 w 232"/>
                <a:gd name="T19" fmla="*/ 2147483647 h 94"/>
                <a:gd name="T20" fmla="*/ 2147483647 w 232"/>
                <a:gd name="T21" fmla="*/ 2147483647 h 94"/>
                <a:gd name="T22" fmla="*/ 2147483647 w 232"/>
                <a:gd name="T23" fmla="*/ 2147483647 h 94"/>
                <a:gd name="T24" fmla="*/ 2147483647 w 232"/>
                <a:gd name="T25" fmla="*/ 2147483647 h 94"/>
                <a:gd name="T26" fmla="*/ 2147483647 w 232"/>
                <a:gd name="T27" fmla="*/ 2147483647 h 94"/>
                <a:gd name="T28" fmla="*/ 2147483647 w 232"/>
                <a:gd name="T29" fmla="*/ 2147483647 h 94"/>
                <a:gd name="T30" fmla="*/ 2147483647 w 232"/>
                <a:gd name="T31" fmla="*/ 2147483647 h 94"/>
                <a:gd name="T32" fmla="*/ 2147483647 w 232"/>
                <a:gd name="T33" fmla="*/ 2147483647 h 94"/>
                <a:gd name="T34" fmla="*/ 2147483647 w 232"/>
                <a:gd name="T35" fmla="*/ 2147483647 h 94"/>
                <a:gd name="T36" fmla="*/ 2147483647 w 232"/>
                <a:gd name="T37" fmla="*/ 2147483647 h 94"/>
                <a:gd name="T38" fmla="*/ 2147483647 w 232"/>
                <a:gd name="T39" fmla="*/ 2147483647 h 94"/>
                <a:gd name="T40" fmla="*/ 2147483647 w 232"/>
                <a:gd name="T41" fmla="*/ 2147483647 h 94"/>
                <a:gd name="T42" fmla="*/ 2147483647 w 232"/>
                <a:gd name="T43" fmla="*/ 2147483647 h 94"/>
                <a:gd name="T44" fmla="*/ 2147483647 w 232"/>
                <a:gd name="T45" fmla="*/ 2147483647 h 94"/>
                <a:gd name="T46" fmla="*/ 2147483647 w 232"/>
                <a:gd name="T47" fmla="*/ 2147483647 h 94"/>
                <a:gd name="T48" fmla="*/ 2147483647 w 232"/>
                <a:gd name="T49" fmla="*/ 0 h 94"/>
                <a:gd name="T50" fmla="*/ 2147483647 w 232"/>
                <a:gd name="T51" fmla="*/ 2147483647 h 94"/>
                <a:gd name="T52" fmla="*/ 2147483647 w 232"/>
                <a:gd name="T53" fmla="*/ 2147483647 h 94"/>
                <a:gd name="T54" fmla="*/ 2147483647 w 232"/>
                <a:gd name="T55" fmla="*/ 2147483647 h 94"/>
                <a:gd name="T56" fmla="*/ 2147483647 w 232"/>
                <a:gd name="T57" fmla="*/ 2147483647 h 94"/>
                <a:gd name="T58" fmla="*/ 2147483647 w 232"/>
                <a:gd name="T59" fmla="*/ 2147483647 h 94"/>
                <a:gd name="T60" fmla="*/ 2147483647 w 232"/>
                <a:gd name="T61" fmla="*/ 2147483647 h 94"/>
                <a:gd name="T62" fmla="*/ 2147483647 w 232"/>
                <a:gd name="T63" fmla="*/ 2147483647 h 94"/>
                <a:gd name="T64" fmla="*/ 2147483647 w 232"/>
                <a:gd name="T65" fmla="*/ 2147483647 h 94"/>
                <a:gd name="T66" fmla="*/ 2147483647 w 232"/>
                <a:gd name="T67" fmla="*/ 2147483647 h 94"/>
                <a:gd name="T68" fmla="*/ 2147483647 w 232"/>
                <a:gd name="T69" fmla="*/ 2147483647 h 9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32"/>
                <a:gd name="T106" fmla="*/ 0 h 94"/>
                <a:gd name="T107" fmla="*/ 232 w 232"/>
                <a:gd name="T108" fmla="*/ 94 h 9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32" h="94">
                  <a:moveTo>
                    <a:pt x="4" y="22"/>
                  </a:moveTo>
                  <a:lnTo>
                    <a:pt x="0" y="27"/>
                  </a:lnTo>
                  <a:lnTo>
                    <a:pt x="4" y="36"/>
                  </a:lnTo>
                  <a:lnTo>
                    <a:pt x="0" y="40"/>
                  </a:lnTo>
                  <a:lnTo>
                    <a:pt x="4" y="45"/>
                  </a:lnTo>
                  <a:lnTo>
                    <a:pt x="9" y="40"/>
                  </a:lnTo>
                  <a:lnTo>
                    <a:pt x="4" y="22"/>
                  </a:lnTo>
                  <a:close/>
                  <a:moveTo>
                    <a:pt x="13" y="31"/>
                  </a:moveTo>
                  <a:lnTo>
                    <a:pt x="13" y="31"/>
                  </a:lnTo>
                  <a:lnTo>
                    <a:pt x="18" y="40"/>
                  </a:lnTo>
                  <a:lnTo>
                    <a:pt x="18" y="36"/>
                  </a:lnTo>
                  <a:lnTo>
                    <a:pt x="13" y="31"/>
                  </a:lnTo>
                  <a:close/>
                  <a:moveTo>
                    <a:pt x="161" y="76"/>
                  </a:moveTo>
                  <a:lnTo>
                    <a:pt x="161" y="80"/>
                  </a:lnTo>
                  <a:lnTo>
                    <a:pt x="156" y="85"/>
                  </a:lnTo>
                  <a:lnTo>
                    <a:pt x="161" y="94"/>
                  </a:lnTo>
                  <a:lnTo>
                    <a:pt x="183" y="94"/>
                  </a:lnTo>
                  <a:lnTo>
                    <a:pt x="187" y="71"/>
                  </a:lnTo>
                  <a:lnTo>
                    <a:pt x="210" y="62"/>
                  </a:lnTo>
                  <a:lnTo>
                    <a:pt x="232" y="36"/>
                  </a:lnTo>
                  <a:lnTo>
                    <a:pt x="232" y="27"/>
                  </a:lnTo>
                  <a:lnTo>
                    <a:pt x="210" y="13"/>
                  </a:lnTo>
                  <a:lnTo>
                    <a:pt x="201" y="18"/>
                  </a:lnTo>
                  <a:lnTo>
                    <a:pt x="196" y="13"/>
                  </a:lnTo>
                  <a:lnTo>
                    <a:pt x="183" y="0"/>
                  </a:lnTo>
                  <a:lnTo>
                    <a:pt x="161" y="9"/>
                  </a:lnTo>
                  <a:lnTo>
                    <a:pt x="165" y="18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52" y="45"/>
                  </a:lnTo>
                  <a:lnTo>
                    <a:pt x="147" y="58"/>
                  </a:lnTo>
                  <a:lnTo>
                    <a:pt x="156" y="62"/>
                  </a:lnTo>
                  <a:lnTo>
                    <a:pt x="169" y="58"/>
                  </a:lnTo>
                  <a:lnTo>
                    <a:pt x="169" y="62"/>
                  </a:lnTo>
                  <a:lnTo>
                    <a:pt x="161" y="76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1" name="Freeform 275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2160588" y="4718050"/>
              <a:ext cx="49212" cy="28575"/>
            </a:xfrm>
            <a:custGeom>
              <a:avLst/>
              <a:gdLst>
                <a:gd name="T0" fmla="*/ 0 w 36"/>
                <a:gd name="T1" fmla="*/ 2147483647 h 23"/>
                <a:gd name="T2" fmla="*/ 2147483647 w 36"/>
                <a:gd name="T3" fmla="*/ 2147483647 h 23"/>
                <a:gd name="T4" fmla="*/ 2147483647 w 36"/>
                <a:gd name="T5" fmla="*/ 2147483647 h 23"/>
                <a:gd name="T6" fmla="*/ 2147483647 w 36"/>
                <a:gd name="T7" fmla="*/ 2147483647 h 23"/>
                <a:gd name="T8" fmla="*/ 2147483647 w 36"/>
                <a:gd name="T9" fmla="*/ 2147483647 h 23"/>
                <a:gd name="T10" fmla="*/ 2147483647 w 36"/>
                <a:gd name="T11" fmla="*/ 2147483647 h 23"/>
                <a:gd name="T12" fmla="*/ 2147483647 w 36"/>
                <a:gd name="T13" fmla="*/ 0 h 23"/>
                <a:gd name="T14" fmla="*/ 2147483647 w 36"/>
                <a:gd name="T15" fmla="*/ 0 h 23"/>
                <a:gd name="T16" fmla="*/ 2147483647 w 36"/>
                <a:gd name="T17" fmla="*/ 2147483647 h 23"/>
                <a:gd name="T18" fmla="*/ 0 w 36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23"/>
                <a:gd name="T32" fmla="*/ 36 w 36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23">
                  <a:moveTo>
                    <a:pt x="0" y="9"/>
                  </a:moveTo>
                  <a:lnTo>
                    <a:pt x="27" y="23"/>
                  </a:lnTo>
                  <a:lnTo>
                    <a:pt x="36" y="18"/>
                  </a:lnTo>
                  <a:lnTo>
                    <a:pt x="36" y="5"/>
                  </a:lnTo>
                  <a:lnTo>
                    <a:pt x="27" y="5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14" y="5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2" name="Freeform 276"/>
            <p:cNvSpPr>
              <a:spLocks noEditPoints="1"/>
            </p:cNvSpPr>
            <p:nvPr>
              <p:custDataLst>
                <p:tags r:id="rId32"/>
              </p:custDataLst>
            </p:nvPr>
          </p:nvSpPr>
          <p:spPr bwMode="gray">
            <a:xfrm>
              <a:off x="2752725" y="6040438"/>
              <a:ext cx="61913" cy="33337"/>
            </a:xfrm>
            <a:custGeom>
              <a:avLst/>
              <a:gdLst>
                <a:gd name="T0" fmla="*/ 2147483647 w 45"/>
                <a:gd name="T1" fmla="*/ 2147483647 h 27"/>
                <a:gd name="T2" fmla="*/ 0 w 45"/>
                <a:gd name="T3" fmla="*/ 0 h 27"/>
                <a:gd name="T4" fmla="*/ 2147483647 w 45"/>
                <a:gd name="T5" fmla="*/ 2147483647 h 27"/>
                <a:gd name="T6" fmla="*/ 0 w 45"/>
                <a:gd name="T7" fmla="*/ 2147483647 h 27"/>
                <a:gd name="T8" fmla="*/ 2147483647 w 45"/>
                <a:gd name="T9" fmla="*/ 2147483647 h 27"/>
                <a:gd name="T10" fmla="*/ 2147483647 w 45"/>
                <a:gd name="T11" fmla="*/ 2147483647 h 27"/>
                <a:gd name="T12" fmla="*/ 2147483647 w 45"/>
                <a:gd name="T13" fmla="*/ 2147483647 h 27"/>
                <a:gd name="T14" fmla="*/ 2147483647 w 45"/>
                <a:gd name="T15" fmla="*/ 0 h 27"/>
                <a:gd name="T16" fmla="*/ 2147483647 w 45"/>
                <a:gd name="T17" fmla="*/ 2147483647 h 27"/>
                <a:gd name="T18" fmla="*/ 2147483647 w 45"/>
                <a:gd name="T19" fmla="*/ 2147483647 h 27"/>
                <a:gd name="T20" fmla="*/ 2147483647 w 45"/>
                <a:gd name="T21" fmla="*/ 2147483647 h 27"/>
                <a:gd name="T22" fmla="*/ 2147483647 w 45"/>
                <a:gd name="T23" fmla="*/ 2147483647 h 27"/>
                <a:gd name="T24" fmla="*/ 2147483647 w 45"/>
                <a:gd name="T25" fmla="*/ 2147483647 h 27"/>
                <a:gd name="T26" fmla="*/ 2147483647 w 45"/>
                <a:gd name="T27" fmla="*/ 2147483647 h 27"/>
                <a:gd name="T28" fmla="*/ 2147483647 w 45"/>
                <a:gd name="T29" fmla="*/ 2147483647 h 27"/>
                <a:gd name="T30" fmla="*/ 2147483647 w 45"/>
                <a:gd name="T31" fmla="*/ 2147483647 h 27"/>
                <a:gd name="T32" fmla="*/ 2147483647 w 45"/>
                <a:gd name="T33" fmla="*/ 0 h 2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5"/>
                <a:gd name="T52" fmla="*/ 0 h 27"/>
                <a:gd name="T53" fmla="*/ 45 w 45"/>
                <a:gd name="T54" fmla="*/ 27 h 2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5" h="27">
                  <a:moveTo>
                    <a:pt x="18" y="5"/>
                  </a:moveTo>
                  <a:lnTo>
                    <a:pt x="0" y="0"/>
                  </a:lnTo>
                  <a:lnTo>
                    <a:pt x="9" y="9"/>
                  </a:lnTo>
                  <a:lnTo>
                    <a:pt x="0" y="22"/>
                  </a:lnTo>
                  <a:lnTo>
                    <a:pt x="5" y="27"/>
                  </a:lnTo>
                  <a:lnTo>
                    <a:pt x="14" y="18"/>
                  </a:lnTo>
                  <a:lnTo>
                    <a:pt x="18" y="5"/>
                  </a:lnTo>
                  <a:close/>
                  <a:moveTo>
                    <a:pt x="23" y="0"/>
                  </a:moveTo>
                  <a:lnTo>
                    <a:pt x="23" y="9"/>
                  </a:lnTo>
                  <a:lnTo>
                    <a:pt x="18" y="9"/>
                  </a:lnTo>
                  <a:lnTo>
                    <a:pt x="14" y="22"/>
                  </a:lnTo>
                  <a:lnTo>
                    <a:pt x="23" y="27"/>
                  </a:lnTo>
                  <a:lnTo>
                    <a:pt x="27" y="27"/>
                  </a:lnTo>
                  <a:lnTo>
                    <a:pt x="36" y="18"/>
                  </a:lnTo>
                  <a:lnTo>
                    <a:pt x="45" y="9"/>
                  </a:lnTo>
                  <a:lnTo>
                    <a:pt x="41" y="5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3" name="Freeform 277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2863850" y="4876800"/>
              <a:ext cx="60325" cy="63500"/>
            </a:xfrm>
            <a:custGeom>
              <a:avLst/>
              <a:gdLst>
                <a:gd name="T0" fmla="*/ 2147483647 w 44"/>
                <a:gd name="T1" fmla="*/ 2147483647 h 53"/>
                <a:gd name="T2" fmla="*/ 2147483647 w 44"/>
                <a:gd name="T3" fmla="*/ 2147483647 h 53"/>
                <a:gd name="T4" fmla="*/ 2147483647 w 44"/>
                <a:gd name="T5" fmla="*/ 2147483647 h 53"/>
                <a:gd name="T6" fmla="*/ 0 w 44"/>
                <a:gd name="T7" fmla="*/ 2147483647 h 53"/>
                <a:gd name="T8" fmla="*/ 2147483647 w 44"/>
                <a:gd name="T9" fmla="*/ 2147483647 h 53"/>
                <a:gd name="T10" fmla="*/ 2147483647 w 44"/>
                <a:gd name="T11" fmla="*/ 2147483647 h 53"/>
                <a:gd name="T12" fmla="*/ 2147483647 w 44"/>
                <a:gd name="T13" fmla="*/ 2147483647 h 53"/>
                <a:gd name="T14" fmla="*/ 2147483647 w 44"/>
                <a:gd name="T15" fmla="*/ 2147483647 h 53"/>
                <a:gd name="T16" fmla="*/ 2147483647 w 44"/>
                <a:gd name="T17" fmla="*/ 2147483647 h 53"/>
                <a:gd name="T18" fmla="*/ 2147483647 w 44"/>
                <a:gd name="T19" fmla="*/ 2147483647 h 53"/>
                <a:gd name="T20" fmla="*/ 2147483647 w 44"/>
                <a:gd name="T21" fmla="*/ 0 h 53"/>
                <a:gd name="T22" fmla="*/ 2147483647 w 44"/>
                <a:gd name="T23" fmla="*/ 2147483647 h 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4"/>
                <a:gd name="T37" fmla="*/ 0 h 53"/>
                <a:gd name="T38" fmla="*/ 44 w 44"/>
                <a:gd name="T39" fmla="*/ 53 h 5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4" h="53">
                  <a:moveTo>
                    <a:pt x="9" y="4"/>
                  </a:moveTo>
                  <a:lnTo>
                    <a:pt x="4" y="13"/>
                  </a:lnTo>
                  <a:lnTo>
                    <a:pt x="13" y="31"/>
                  </a:lnTo>
                  <a:lnTo>
                    <a:pt x="0" y="45"/>
                  </a:lnTo>
                  <a:lnTo>
                    <a:pt x="9" y="53"/>
                  </a:lnTo>
                  <a:lnTo>
                    <a:pt x="22" y="53"/>
                  </a:lnTo>
                  <a:lnTo>
                    <a:pt x="36" y="45"/>
                  </a:lnTo>
                  <a:lnTo>
                    <a:pt x="44" y="27"/>
                  </a:lnTo>
                  <a:lnTo>
                    <a:pt x="40" y="18"/>
                  </a:lnTo>
                  <a:lnTo>
                    <a:pt x="27" y="4"/>
                  </a:lnTo>
                  <a:lnTo>
                    <a:pt x="13" y="0"/>
                  </a:lnTo>
                  <a:lnTo>
                    <a:pt x="9" y="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4" name="Freeform 278"/>
            <p:cNvSpPr>
              <a:spLocks noEditPoints="1"/>
            </p:cNvSpPr>
            <p:nvPr>
              <p:custDataLst>
                <p:tags r:id="rId34"/>
              </p:custDataLst>
            </p:nvPr>
          </p:nvSpPr>
          <p:spPr bwMode="gray">
            <a:xfrm>
              <a:off x="962025" y="5154613"/>
              <a:ext cx="342900" cy="352425"/>
            </a:xfrm>
            <a:custGeom>
              <a:avLst/>
              <a:gdLst>
                <a:gd name="T0" fmla="*/ 0 w 250"/>
                <a:gd name="T1" fmla="*/ 2147483647 h 290"/>
                <a:gd name="T2" fmla="*/ 0 w 250"/>
                <a:gd name="T3" fmla="*/ 2147483647 h 290"/>
                <a:gd name="T4" fmla="*/ 2147483647 w 250"/>
                <a:gd name="T5" fmla="*/ 2147483647 h 290"/>
                <a:gd name="T6" fmla="*/ 0 w 250"/>
                <a:gd name="T7" fmla="*/ 2147483647 h 290"/>
                <a:gd name="T8" fmla="*/ 2147483647 w 250"/>
                <a:gd name="T9" fmla="*/ 2147483647 h 290"/>
                <a:gd name="T10" fmla="*/ 2147483647 w 250"/>
                <a:gd name="T11" fmla="*/ 2147483647 h 290"/>
                <a:gd name="T12" fmla="*/ 2147483647 w 250"/>
                <a:gd name="T13" fmla="*/ 2147483647 h 290"/>
                <a:gd name="T14" fmla="*/ 2147483647 w 250"/>
                <a:gd name="T15" fmla="*/ 2147483647 h 290"/>
                <a:gd name="T16" fmla="*/ 2147483647 w 250"/>
                <a:gd name="T17" fmla="*/ 2147483647 h 290"/>
                <a:gd name="T18" fmla="*/ 2147483647 w 250"/>
                <a:gd name="T19" fmla="*/ 2147483647 h 290"/>
                <a:gd name="T20" fmla="*/ 2147483647 w 250"/>
                <a:gd name="T21" fmla="*/ 2147483647 h 290"/>
                <a:gd name="T22" fmla="*/ 2147483647 w 250"/>
                <a:gd name="T23" fmla="*/ 2147483647 h 290"/>
                <a:gd name="T24" fmla="*/ 2147483647 w 250"/>
                <a:gd name="T25" fmla="*/ 2147483647 h 290"/>
                <a:gd name="T26" fmla="*/ 2147483647 w 250"/>
                <a:gd name="T27" fmla="*/ 2147483647 h 290"/>
                <a:gd name="T28" fmla="*/ 2147483647 w 250"/>
                <a:gd name="T29" fmla="*/ 2147483647 h 290"/>
                <a:gd name="T30" fmla="*/ 2147483647 w 250"/>
                <a:gd name="T31" fmla="*/ 2147483647 h 290"/>
                <a:gd name="T32" fmla="*/ 2147483647 w 250"/>
                <a:gd name="T33" fmla="*/ 2147483647 h 290"/>
                <a:gd name="T34" fmla="*/ 2147483647 w 250"/>
                <a:gd name="T35" fmla="*/ 2147483647 h 290"/>
                <a:gd name="T36" fmla="*/ 2147483647 w 250"/>
                <a:gd name="T37" fmla="*/ 2147483647 h 290"/>
                <a:gd name="T38" fmla="*/ 2147483647 w 250"/>
                <a:gd name="T39" fmla="*/ 2147483647 h 290"/>
                <a:gd name="T40" fmla="*/ 2147483647 w 250"/>
                <a:gd name="T41" fmla="*/ 2147483647 h 290"/>
                <a:gd name="T42" fmla="*/ 2147483647 w 250"/>
                <a:gd name="T43" fmla="*/ 2147483647 h 290"/>
                <a:gd name="T44" fmla="*/ 2147483647 w 250"/>
                <a:gd name="T45" fmla="*/ 2147483647 h 290"/>
                <a:gd name="T46" fmla="*/ 2147483647 w 250"/>
                <a:gd name="T47" fmla="*/ 2147483647 h 290"/>
                <a:gd name="T48" fmla="*/ 2147483647 w 250"/>
                <a:gd name="T49" fmla="*/ 2147483647 h 290"/>
                <a:gd name="T50" fmla="*/ 2147483647 w 250"/>
                <a:gd name="T51" fmla="*/ 2147483647 h 290"/>
                <a:gd name="T52" fmla="*/ 2147483647 w 250"/>
                <a:gd name="T53" fmla="*/ 2147483647 h 290"/>
                <a:gd name="T54" fmla="*/ 2147483647 w 250"/>
                <a:gd name="T55" fmla="*/ 2147483647 h 290"/>
                <a:gd name="T56" fmla="*/ 2147483647 w 250"/>
                <a:gd name="T57" fmla="*/ 2147483647 h 290"/>
                <a:gd name="T58" fmla="*/ 2147483647 w 250"/>
                <a:gd name="T59" fmla="*/ 2147483647 h 290"/>
                <a:gd name="T60" fmla="*/ 2147483647 w 250"/>
                <a:gd name="T61" fmla="*/ 2147483647 h 290"/>
                <a:gd name="T62" fmla="*/ 2147483647 w 250"/>
                <a:gd name="T63" fmla="*/ 2147483647 h 290"/>
                <a:gd name="T64" fmla="*/ 2147483647 w 250"/>
                <a:gd name="T65" fmla="*/ 2147483647 h 290"/>
                <a:gd name="T66" fmla="*/ 2147483647 w 250"/>
                <a:gd name="T67" fmla="*/ 2147483647 h 290"/>
                <a:gd name="T68" fmla="*/ 2147483647 w 250"/>
                <a:gd name="T69" fmla="*/ 2147483647 h 290"/>
                <a:gd name="T70" fmla="*/ 2147483647 w 250"/>
                <a:gd name="T71" fmla="*/ 2147483647 h 290"/>
                <a:gd name="T72" fmla="*/ 2147483647 w 250"/>
                <a:gd name="T73" fmla="*/ 2147483647 h 290"/>
                <a:gd name="T74" fmla="*/ 2147483647 w 250"/>
                <a:gd name="T75" fmla="*/ 2147483647 h 290"/>
                <a:gd name="T76" fmla="*/ 2147483647 w 250"/>
                <a:gd name="T77" fmla="*/ 2147483647 h 290"/>
                <a:gd name="T78" fmla="*/ 2147483647 w 250"/>
                <a:gd name="T79" fmla="*/ 2147483647 h 290"/>
                <a:gd name="T80" fmla="*/ 2147483647 w 250"/>
                <a:gd name="T81" fmla="*/ 0 h 290"/>
                <a:gd name="T82" fmla="*/ 2147483647 w 250"/>
                <a:gd name="T83" fmla="*/ 0 h 290"/>
                <a:gd name="T84" fmla="*/ 2147483647 w 250"/>
                <a:gd name="T85" fmla="*/ 0 h 290"/>
                <a:gd name="T86" fmla="*/ 2147483647 w 250"/>
                <a:gd name="T87" fmla="*/ 0 h 290"/>
                <a:gd name="T88" fmla="*/ 2147483647 w 250"/>
                <a:gd name="T89" fmla="*/ 0 h 290"/>
                <a:gd name="T90" fmla="*/ 2147483647 w 250"/>
                <a:gd name="T91" fmla="*/ 2147483647 h 290"/>
                <a:gd name="T92" fmla="*/ 2147483647 w 250"/>
                <a:gd name="T93" fmla="*/ 2147483647 h 290"/>
                <a:gd name="T94" fmla="*/ 2147483647 w 250"/>
                <a:gd name="T95" fmla="*/ 2147483647 h 290"/>
                <a:gd name="T96" fmla="*/ 2147483647 w 250"/>
                <a:gd name="T97" fmla="*/ 2147483647 h 290"/>
                <a:gd name="T98" fmla="*/ 2147483647 w 250"/>
                <a:gd name="T99" fmla="*/ 2147483647 h 290"/>
                <a:gd name="T100" fmla="*/ 2147483647 w 250"/>
                <a:gd name="T101" fmla="*/ 2147483647 h 290"/>
                <a:gd name="T102" fmla="*/ 2147483647 w 250"/>
                <a:gd name="T103" fmla="*/ 2147483647 h 290"/>
                <a:gd name="T104" fmla="*/ 2147483647 w 250"/>
                <a:gd name="T105" fmla="*/ 2147483647 h 290"/>
                <a:gd name="T106" fmla="*/ 2147483647 w 250"/>
                <a:gd name="T107" fmla="*/ 2147483647 h 290"/>
                <a:gd name="T108" fmla="*/ 2147483647 w 250"/>
                <a:gd name="T109" fmla="*/ 2147483647 h 290"/>
                <a:gd name="T110" fmla="*/ 2147483647 w 250"/>
                <a:gd name="T111" fmla="*/ 2147483647 h 290"/>
                <a:gd name="T112" fmla="*/ 2147483647 w 250"/>
                <a:gd name="T113" fmla="*/ 2147483647 h 290"/>
                <a:gd name="T114" fmla="*/ 2147483647 w 250"/>
                <a:gd name="T115" fmla="*/ 2147483647 h 290"/>
                <a:gd name="T116" fmla="*/ 2147483647 w 250"/>
                <a:gd name="T117" fmla="*/ 2147483647 h 29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50"/>
                <a:gd name="T178" fmla="*/ 0 h 290"/>
                <a:gd name="T179" fmla="*/ 250 w 250"/>
                <a:gd name="T180" fmla="*/ 290 h 29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50" h="290">
                  <a:moveTo>
                    <a:pt x="0" y="103"/>
                  </a:moveTo>
                  <a:lnTo>
                    <a:pt x="0" y="103"/>
                  </a:lnTo>
                  <a:lnTo>
                    <a:pt x="4" y="103"/>
                  </a:lnTo>
                  <a:lnTo>
                    <a:pt x="0" y="103"/>
                  </a:lnTo>
                  <a:close/>
                  <a:moveTo>
                    <a:pt x="26" y="120"/>
                  </a:moveTo>
                  <a:lnTo>
                    <a:pt x="26" y="120"/>
                  </a:lnTo>
                  <a:lnTo>
                    <a:pt x="31" y="125"/>
                  </a:lnTo>
                  <a:lnTo>
                    <a:pt x="35" y="120"/>
                  </a:lnTo>
                  <a:lnTo>
                    <a:pt x="26" y="120"/>
                  </a:lnTo>
                  <a:close/>
                  <a:moveTo>
                    <a:pt x="49" y="80"/>
                  </a:moveTo>
                  <a:lnTo>
                    <a:pt x="49" y="85"/>
                  </a:lnTo>
                  <a:lnTo>
                    <a:pt x="58" y="85"/>
                  </a:lnTo>
                  <a:lnTo>
                    <a:pt x="53" y="80"/>
                  </a:lnTo>
                  <a:lnTo>
                    <a:pt x="49" y="80"/>
                  </a:lnTo>
                  <a:close/>
                  <a:moveTo>
                    <a:pt x="80" y="98"/>
                  </a:moveTo>
                  <a:lnTo>
                    <a:pt x="84" y="103"/>
                  </a:lnTo>
                  <a:lnTo>
                    <a:pt x="89" y="103"/>
                  </a:lnTo>
                  <a:lnTo>
                    <a:pt x="84" y="98"/>
                  </a:lnTo>
                  <a:lnTo>
                    <a:pt x="80" y="98"/>
                  </a:lnTo>
                  <a:close/>
                  <a:moveTo>
                    <a:pt x="102" y="286"/>
                  </a:moveTo>
                  <a:lnTo>
                    <a:pt x="102" y="286"/>
                  </a:lnTo>
                  <a:lnTo>
                    <a:pt x="107" y="290"/>
                  </a:lnTo>
                  <a:lnTo>
                    <a:pt x="107" y="286"/>
                  </a:lnTo>
                  <a:lnTo>
                    <a:pt x="102" y="286"/>
                  </a:lnTo>
                  <a:close/>
                  <a:moveTo>
                    <a:pt x="111" y="98"/>
                  </a:moveTo>
                  <a:lnTo>
                    <a:pt x="111" y="103"/>
                  </a:lnTo>
                  <a:lnTo>
                    <a:pt x="116" y="103"/>
                  </a:lnTo>
                  <a:lnTo>
                    <a:pt x="111" y="98"/>
                  </a:lnTo>
                  <a:close/>
                  <a:moveTo>
                    <a:pt x="116" y="165"/>
                  </a:moveTo>
                  <a:lnTo>
                    <a:pt x="116" y="165"/>
                  </a:lnTo>
                  <a:lnTo>
                    <a:pt x="120" y="165"/>
                  </a:lnTo>
                  <a:lnTo>
                    <a:pt x="120" y="170"/>
                  </a:lnTo>
                  <a:lnTo>
                    <a:pt x="116" y="165"/>
                  </a:lnTo>
                  <a:close/>
                  <a:moveTo>
                    <a:pt x="151" y="125"/>
                  </a:moveTo>
                  <a:lnTo>
                    <a:pt x="156" y="129"/>
                  </a:lnTo>
                  <a:lnTo>
                    <a:pt x="151" y="125"/>
                  </a:lnTo>
                  <a:close/>
                  <a:moveTo>
                    <a:pt x="174" y="0"/>
                  </a:moveTo>
                  <a:lnTo>
                    <a:pt x="174" y="0"/>
                  </a:lnTo>
                  <a:lnTo>
                    <a:pt x="178" y="0"/>
                  </a:lnTo>
                  <a:lnTo>
                    <a:pt x="174" y="0"/>
                  </a:lnTo>
                  <a:close/>
                  <a:moveTo>
                    <a:pt x="214" y="125"/>
                  </a:moveTo>
                  <a:lnTo>
                    <a:pt x="214" y="134"/>
                  </a:lnTo>
                  <a:lnTo>
                    <a:pt x="214" y="129"/>
                  </a:lnTo>
                  <a:lnTo>
                    <a:pt x="214" y="125"/>
                  </a:lnTo>
                  <a:close/>
                  <a:moveTo>
                    <a:pt x="241" y="201"/>
                  </a:moveTo>
                  <a:lnTo>
                    <a:pt x="236" y="205"/>
                  </a:lnTo>
                  <a:lnTo>
                    <a:pt x="241" y="205"/>
                  </a:lnTo>
                  <a:lnTo>
                    <a:pt x="241" y="201"/>
                  </a:lnTo>
                  <a:close/>
                  <a:moveTo>
                    <a:pt x="245" y="205"/>
                  </a:moveTo>
                  <a:lnTo>
                    <a:pt x="245" y="205"/>
                  </a:lnTo>
                  <a:lnTo>
                    <a:pt x="250" y="210"/>
                  </a:lnTo>
                  <a:lnTo>
                    <a:pt x="250" y="205"/>
                  </a:lnTo>
                  <a:lnTo>
                    <a:pt x="245" y="20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5" name="Freeform 279"/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2722563" y="4756150"/>
              <a:ext cx="12700" cy="6350"/>
            </a:xfrm>
            <a:custGeom>
              <a:avLst/>
              <a:gdLst>
                <a:gd name="T0" fmla="*/ 2147483647 w 9"/>
                <a:gd name="T1" fmla="*/ 0 h 4"/>
                <a:gd name="T2" fmla="*/ 0 w 9"/>
                <a:gd name="T3" fmla="*/ 2147483647 h 4"/>
                <a:gd name="T4" fmla="*/ 2147483647 w 9"/>
                <a:gd name="T5" fmla="*/ 2147483647 h 4"/>
                <a:gd name="T6" fmla="*/ 2147483647 w 9"/>
                <a:gd name="T7" fmla="*/ 2147483647 h 4"/>
                <a:gd name="T8" fmla="*/ 2147483647 w 9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4"/>
                <a:gd name="T17" fmla="*/ 9 w 9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4">
                  <a:moveTo>
                    <a:pt x="5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9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6" name="Freeform 280"/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2728913" y="4679950"/>
              <a:ext cx="11112" cy="11113"/>
            </a:xfrm>
            <a:custGeom>
              <a:avLst/>
              <a:gdLst>
                <a:gd name="T0" fmla="*/ 2147483647 w 8"/>
                <a:gd name="T1" fmla="*/ 0 h 9"/>
                <a:gd name="T2" fmla="*/ 2147483647 w 8"/>
                <a:gd name="T3" fmla="*/ 2147483647 h 9"/>
                <a:gd name="T4" fmla="*/ 0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2147483647 w 8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9"/>
                <a:gd name="T23" fmla="*/ 8 w 8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9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7" name="Freeform 281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2122488" y="4652963"/>
              <a:ext cx="79375" cy="76200"/>
            </a:xfrm>
            <a:custGeom>
              <a:avLst/>
              <a:gdLst>
                <a:gd name="T0" fmla="*/ 0 w 58"/>
                <a:gd name="T1" fmla="*/ 2147483647 h 62"/>
                <a:gd name="T2" fmla="*/ 2147483647 w 58"/>
                <a:gd name="T3" fmla="*/ 2147483647 h 62"/>
                <a:gd name="T4" fmla="*/ 2147483647 w 58"/>
                <a:gd name="T5" fmla="*/ 2147483647 h 62"/>
                <a:gd name="T6" fmla="*/ 2147483647 w 58"/>
                <a:gd name="T7" fmla="*/ 2147483647 h 62"/>
                <a:gd name="T8" fmla="*/ 2147483647 w 58"/>
                <a:gd name="T9" fmla="*/ 2147483647 h 62"/>
                <a:gd name="T10" fmla="*/ 2147483647 w 58"/>
                <a:gd name="T11" fmla="*/ 2147483647 h 62"/>
                <a:gd name="T12" fmla="*/ 2147483647 w 58"/>
                <a:gd name="T13" fmla="*/ 2147483647 h 62"/>
                <a:gd name="T14" fmla="*/ 2147483647 w 58"/>
                <a:gd name="T15" fmla="*/ 2147483647 h 62"/>
                <a:gd name="T16" fmla="*/ 2147483647 w 58"/>
                <a:gd name="T17" fmla="*/ 2147483647 h 62"/>
                <a:gd name="T18" fmla="*/ 2147483647 w 58"/>
                <a:gd name="T19" fmla="*/ 2147483647 h 62"/>
                <a:gd name="T20" fmla="*/ 2147483647 w 58"/>
                <a:gd name="T21" fmla="*/ 2147483647 h 62"/>
                <a:gd name="T22" fmla="*/ 2147483647 w 58"/>
                <a:gd name="T23" fmla="*/ 2147483647 h 62"/>
                <a:gd name="T24" fmla="*/ 2147483647 w 58"/>
                <a:gd name="T25" fmla="*/ 2147483647 h 62"/>
                <a:gd name="T26" fmla="*/ 2147483647 w 58"/>
                <a:gd name="T27" fmla="*/ 2147483647 h 62"/>
                <a:gd name="T28" fmla="*/ 2147483647 w 58"/>
                <a:gd name="T29" fmla="*/ 2147483647 h 62"/>
                <a:gd name="T30" fmla="*/ 2147483647 w 58"/>
                <a:gd name="T31" fmla="*/ 0 h 62"/>
                <a:gd name="T32" fmla="*/ 2147483647 w 58"/>
                <a:gd name="T33" fmla="*/ 2147483647 h 62"/>
                <a:gd name="T34" fmla="*/ 2147483647 w 58"/>
                <a:gd name="T35" fmla="*/ 0 h 62"/>
                <a:gd name="T36" fmla="*/ 2147483647 w 58"/>
                <a:gd name="T37" fmla="*/ 0 h 62"/>
                <a:gd name="T38" fmla="*/ 2147483647 w 58"/>
                <a:gd name="T39" fmla="*/ 2147483647 h 62"/>
                <a:gd name="T40" fmla="*/ 2147483647 w 58"/>
                <a:gd name="T41" fmla="*/ 2147483647 h 62"/>
                <a:gd name="T42" fmla="*/ 2147483647 w 58"/>
                <a:gd name="T43" fmla="*/ 2147483647 h 62"/>
                <a:gd name="T44" fmla="*/ 2147483647 w 58"/>
                <a:gd name="T45" fmla="*/ 2147483647 h 62"/>
                <a:gd name="T46" fmla="*/ 0 w 58"/>
                <a:gd name="T47" fmla="*/ 2147483647 h 6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8"/>
                <a:gd name="T73" fmla="*/ 0 h 62"/>
                <a:gd name="T74" fmla="*/ 58 w 58"/>
                <a:gd name="T75" fmla="*/ 62 h 6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8" h="62">
                  <a:moveTo>
                    <a:pt x="0" y="53"/>
                  </a:moveTo>
                  <a:lnTo>
                    <a:pt x="9" y="62"/>
                  </a:lnTo>
                  <a:lnTo>
                    <a:pt x="18" y="58"/>
                  </a:lnTo>
                  <a:lnTo>
                    <a:pt x="27" y="62"/>
                  </a:lnTo>
                  <a:lnTo>
                    <a:pt x="41" y="58"/>
                  </a:lnTo>
                  <a:lnTo>
                    <a:pt x="41" y="53"/>
                  </a:lnTo>
                  <a:lnTo>
                    <a:pt x="41" y="49"/>
                  </a:lnTo>
                  <a:lnTo>
                    <a:pt x="49" y="44"/>
                  </a:lnTo>
                  <a:lnTo>
                    <a:pt x="58" y="35"/>
                  </a:lnTo>
                  <a:lnTo>
                    <a:pt x="58" y="31"/>
                  </a:lnTo>
                  <a:lnTo>
                    <a:pt x="49" y="35"/>
                  </a:lnTo>
                  <a:lnTo>
                    <a:pt x="45" y="35"/>
                  </a:lnTo>
                  <a:lnTo>
                    <a:pt x="49" y="31"/>
                  </a:lnTo>
                  <a:lnTo>
                    <a:pt x="45" y="31"/>
                  </a:lnTo>
                  <a:lnTo>
                    <a:pt x="41" y="17"/>
                  </a:lnTo>
                  <a:lnTo>
                    <a:pt x="45" y="0"/>
                  </a:lnTo>
                  <a:lnTo>
                    <a:pt x="41" y="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14" y="9"/>
                  </a:lnTo>
                  <a:lnTo>
                    <a:pt x="27" y="26"/>
                  </a:lnTo>
                  <a:lnTo>
                    <a:pt x="27" y="31"/>
                  </a:lnTo>
                  <a:lnTo>
                    <a:pt x="5" y="31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8" name="Freeform 282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2735263" y="4821238"/>
              <a:ext cx="96837" cy="136525"/>
            </a:xfrm>
            <a:custGeom>
              <a:avLst/>
              <a:gdLst>
                <a:gd name="T0" fmla="*/ 2147483647 w 71"/>
                <a:gd name="T1" fmla="*/ 0 h 112"/>
                <a:gd name="T2" fmla="*/ 2147483647 w 71"/>
                <a:gd name="T3" fmla="*/ 2147483647 h 112"/>
                <a:gd name="T4" fmla="*/ 2147483647 w 71"/>
                <a:gd name="T5" fmla="*/ 2147483647 h 112"/>
                <a:gd name="T6" fmla="*/ 2147483647 w 71"/>
                <a:gd name="T7" fmla="*/ 2147483647 h 112"/>
                <a:gd name="T8" fmla="*/ 2147483647 w 71"/>
                <a:gd name="T9" fmla="*/ 2147483647 h 112"/>
                <a:gd name="T10" fmla="*/ 0 w 71"/>
                <a:gd name="T11" fmla="*/ 2147483647 h 112"/>
                <a:gd name="T12" fmla="*/ 2147483647 w 71"/>
                <a:gd name="T13" fmla="*/ 2147483647 h 112"/>
                <a:gd name="T14" fmla="*/ 2147483647 w 71"/>
                <a:gd name="T15" fmla="*/ 2147483647 h 112"/>
                <a:gd name="T16" fmla="*/ 2147483647 w 71"/>
                <a:gd name="T17" fmla="*/ 2147483647 h 112"/>
                <a:gd name="T18" fmla="*/ 2147483647 w 71"/>
                <a:gd name="T19" fmla="*/ 2147483647 h 112"/>
                <a:gd name="T20" fmla="*/ 2147483647 w 71"/>
                <a:gd name="T21" fmla="*/ 2147483647 h 112"/>
                <a:gd name="T22" fmla="*/ 2147483647 w 71"/>
                <a:gd name="T23" fmla="*/ 2147483647 h 112"/>
                <a:gd name="T24" fmla="*/ 2147483647 w 71"/>
                <a:gd name="T25" fmla="*/ 2147483647 h 112"/>
                <a:gd name="T26" fmla="*/ 2147483647 w 71"/>
                <a:gd name="T27" fmla="*/ 2147483647 h 112"/>
                <a:gd name="T28" fmla="*/ 2147483647 w 71"/>
                <a:gd name="T29" fmla="*/ 2147483647 h 112"/>
                <a:gd name="T30" fmla="*/ 2147483647 w 71"/>
                <a:gd name="T31" fmla="*/ 2147483647 h 112"/>
                <a:gd name="T32" fmla="*/ 2147483647 w 71"/>
                <a:gd name="T33" fmla="*/ 2147483647 h 112"/>
                <a:gd name="T34" fmla="*/ 2147483647 w 71"/>
                <a:gd name="T35" fmla="*/ 2147483647 h 112"/>
                <a:gd name="T36" fmla="*/ 2147483647 w 71"/>
                <a:gd name="T37" fmla="*/ 2147483647 h 112"/>
                <a:gd name="T38" fmla="*/ 2147483647 w 71"/>
                <a:gd name="T39" fmla="*/ 2147483647 h 112"/>
                <a:gd name="T40" fmla="*/ 2147483647 w 71"/>
                <a:gd name="T41" fmla="*/ 2147483647 h 112"/>
                <a:gd name="T42" fmla="*/ 2147483647 w 71"/>
                <a:gd name="T43" fmla="*/ 2147483647 h 112"/>
                <a:gd name="T44" fmla="*/ 2147483647 w 71"/>
                <a:gd name="T45" fmla="*/ 2147483647 h 112"/>
                <a:gd name="T46" fmla="*/ 2147483647 w 71"/>
                <a:gd name="T47" fmla="*/ 2147483647 h 112"/>
                <a:gd name="T48" fmla="*/ 2147483647 w 71"/>
                <a:gd name="T49" fmla="*/ 2147483647 h 112"/>
                <a:gd name="T50" fmla="*/ 2147483647 w 71"/>
                <a:gd name="T51" fmla="*/ 2147483647 h 112"/>
                <a:gd name="T52" fmla="*/ 2147483647 w 71"/>
                <a:gd name="T53" fmla="*/ 2147483647 h 112"/>
                <a:gd name="T54" fmla="*/ 2147483647 w 71"/>
                <a:gd name="T55" fmla="*/ 0 h 11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71"/>
                <a:gd name="T85" fmla="*/ 0 h 112"/>
                <a:gd name="T86" fmla="*/ 71 w 71"/>
                <a:gd name="T87" fmla="*/ 112 h 11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71" h="112">
                  <a:moveTo>
                    <a:pt x="18" y="0"/>
                  </a:moveTo>
                  <a:lnTo>
                    <a:pt x="22" y="14"/>
                  </a:lnTo>
                  <a:lnTo>
                    <a:pt x="9" y="18"/>
                  </a:lnTo>
                  <a:lnTo>
                    <a:pt x="13" y="27"/>
                  </a:lnTo>
                  <a:lnTo>
                    <a:pt x="4" y="31"/>
                  </a:lnTo>
                  <a:lnTo>
                    <a:pt x="0" y="40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18" y="63"/>
                  </a:lnTo>
                  <a:lnTo>
                    <a:pt x="27" y="63"/>
                  </a:lnTo>
                  <a:lnTo>
                    <a:pt x="18" y="72"/>
                  </a:lnTo>
                  <a:lnTo>
                    <a:pt x="18" y="94"/>
                  </a:lnTo>
                  <a:lnTo>
                    <a:pt x="27" y="107"/>
                  </a:lnTo>
                  <a:lnTo>
                    <a:pt x="36" y="112"/>
                  </a:lnTo>
                  <a:lnTo>
                    <a:pt x="45" y="103"/>
                  </a:lnTo>
                  <a:lnTo>
                    <a:pt x="71" y="98"/>
                  </a:lnTo>
                  <a:lnTo>
                    <a:pt x="67" y="90"/>
                  </a:lnTo>
                  <a:lnTo>
                    <a:pt x="63" y="76"/>
                  </a:lnTo>
                  <a:lnTo>
                    <a:pt x="54" y="76"/>
                  </a:lnTo>
                  <a:lnTo>
                    <a:pt x="45" y="67"/>
                  </a:lnTo>
                  <a:lnTo>
                    <a:pt x="49" y="58"/>
                  </a:lnTo>
                  <a:lnTo>
                    <a:pt x="58" y="54"/>
                  </a:lnTo>
                  <a:lnTo>
                    <a:pt x="63" y="40"/>
                  </a:lnTo>
                  <a:lnTo>
                    <a:pt x="58" y="36"/>
                  </a:lnTo>
                  <a:lnTo>
                    <a:pt x="40" y="22"/>
                  </a:lnTo>
                  <a:lnTo>
                    <a:pt x="36" y="14"/>
                  </a:lnTo>
                  <a:lnTo>
                    <a:pt x="27" y="5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29" name="Freeform 283"/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2478088" y="4614863"/>
              <a:ext cx="49212" cy="38100"/>
            </a:xfrm>
            <a:custGeom>
              <a:avLst/>
              <a:gdLst>
                <a:gd name="T0" fmla="*/ 2147483647 w 36"/>
                <a:gd name="T1" fmla="*/ 2147483647 h 32"/>
                <a:gd name="T2" fmla="*/ 2147483647 w 36"/>
                <a:gd name="T3" fmla="*/ 2147483647 h 32"/>
                <a:gd name="T4" fmla="*/ 2147483647 w 36"/>
                <a:gd name="T5" fmla="*/ 2147483647 h 32"/>
                <a:gd name="T6" fmla="*/ 2147483647 w 36"/>
                <a:gd name="T7" fmla="*/ 2147483647 h 32"/>
                <a:gd name="T8" fmla="*/ 2147483647 w 36"/>
                <a:gd name="T9" fmla="*/ 2147483647 h 32"/>
                <a:gd name="T10" fmla="*/ 2147483647 w 36"/>
                <a:gd name="T11" fmla="*/ 2147483647 h 32"/>
                <a:gd name="T12" fmla="*/ 0 w 36"/>
                <a:gd name="T13" fmla="*/ 2147483647 h 32"/>
                <a:gd name="T14" fmla="*/ 0 w 36"/>
                <a:gd name="T15" fmla="*/ 2147483647 h 32"/>
                <a:gd name="T16" fmla="*/ 2147483647 w 36"/>
                <a:gd name="T17" fmla="*/ 2147483647 h 32"/>
                <a:gd name="T18" fmla="*/ 2147483647 w 36"/>
                <a:gd name="T19" fmla="*/ 2147483647 h 32"/>
                <a:gd name="T20" fmla="*/ 2147483647 w 36"/>
                <a:gd name="T21" fmla="*/ 2147483647 h 32"/>
                <a:gd name="T22" fmla="*/ 2147483647 w 36"/>
                <a:gd name="T23" fmla="*/ 2147483647 h 32"/>
                <a:gd name="T24" fmla="*/ 2147483647 w 36"/>
                <a:gd name="T25" fmla="*/ 2147483647 h 32"/>
                <a:gd name="T26" fmla="*/ 2147483647 w 36"/>
                <a:gd name="T27" fmla="*/ 2147483647 h 32"/>
                <a:gd name="T28" fmla="*/ 2147483647 w 36"/>
                <a:gd name="T29" fmla="*/ 0 h 32"/>
                <a:gd name="T30" fmla="*/ 2147483647 w 36"/>
                <a:gd name="T31" fmla="*/ 2147483647 h 3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6"/>
                <a:gd name="T49" fmla="*/ 0 h 32"/>
                <a:gd name="T50" fmla="*/ 36 w 36"/>
                <a:gd name="T51" fmla="*/ 32 h 3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6" h="32">
                  <a:moveTo>
                    <a:pt x="36" y="5"/>
                  </a:moveTo>
                  <a:lnTo>
                    <a:pt x="36" y="14"/>
                  </a:lnTo>
                  <a:lnTo>
                    <a:pt x="32" y="27"/>
                  </a:lnTo>
                  <a:lnTo>
                    <a:pt x="14" y="27"/>
                  </a:lnTo>
                  <a:lnTo>
                    <a:pt x="9" y="32"/>
                  </a:lnTo>
                  <a:lnTo>
                    <a:pt x="5" y="27"/>
                  </a:lnTo>
                  <a:lnTo>
                    <a:pt x="0" y="27"/>
                  </a:lnTo>
                  <a:lnTo>
                    <a:pt x="0" y="18"/>
                  </a:lnTo>
                  <a:lnTo>
                    <a:pt x="14" y="23"/>
                  </a:lnTo>
                  <a:lnTo>
                    <a:pt x="23" y="23"/>
                  </a:lnTo>
                  <a:lnTo>
                    <a:pt x="23" y="18"/>
                  </a:lnTo>
                  <a:lnTo>
                    <a:pt x="23" y="9"/>
                  </a:lnTo>
                  <a:lnTo>
                    <a:pt x="14" y="9"/>
                  </a:lnTo>
                  <a:lnTo>
                    <a:pt x="14" y="5"/>
                  </a:lnTo>
                  <a:lnTo>
                    <a:pt x="23" y="0"/>
                  </a:lnTo>
                  <a:lnTo>
                    <a:pt x="36" y="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0" name="Freeform 284"/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2179638" y="4684713"/>
              <a:ext cx="122237" cy="61912"/>
            </a:xfrm>
            <a:custGeom>
              <a:avLst/>
              <a:gdLst>
                <a:gd name="T0" fmla="*/ 0 w 89"/>
                <a:gd name="T1" fmla="*/ 2147483647 h 50"/>
                <a:gd name="T2" fmla="*/ 0 w 89"/>
                <a:gd name="T3" fmla="*/ 2147483647 h 50"/>
                <a:gd name="T4" fmla="*/ 2147483647 w 89"/>
                <a:gd name="T5" fmla="*/ 2147483647 h 50"/>
                <a:gd name="T6" fmla="*/ 2147483647 w 89"/>
                <a:gd name="T7" fmla="*/ 2147483647 h 50"/>
                <a:gd name="T8" fmla="*/ 2147483647 w 89"/>
                <a:gd name="T9" fmla="*/ 2147483647 h 50"/>
                <a:gd name="T10" fmla="*/ 2147483647 w 89"/>
                <a:gd name="T11" fmla="*/ 2147483647 h 50"/>
                <a:gd name="T12" fmla="*/ 2147483647 w 89"/>
                <a:gd name="T13" fmla="*/ 0 h 50"/>
                <a:gd name="T14" fmla="*/ 2147483647 w 89"/>
                <a:gd name="T15" fmla="*/ 2147483647 h 50"/>
                <a:gd name="T16" fmla="*/ 2147483647 w 89"/>
                <a:gd name="T17" fmla="*/ 2147483647 h 50"/>
                <a:gd name="T18" fmla="*/ 2147483647 w 89"/>
                <a:gd name="T19" fmla="*/ 2147483647 h 50"/>
                <a:gd name="T20" fmla="*/ 2147483647 w 89"/>
                <a:gd name="T21" fmla="*/ 2147483647 h 50"/>
                <a:gd name="T22" fmla="*/ 2147483647 w 89"/>
                <a:gd name="T23" fmla="*/ 2147483647 h 50"/>
                <a:gd name="T24" fmla="*/ 2147483647 w 89"/>
                <a:gd name="T25" fmla="*/ 2147483647 h 50"/>
                <a:gd name="T26" fmla="*/ 2147483647 w 89"/>
                <a:gd name="T27" fmla="*/ 2147483647 h 50"/>
                <a:gd name="T28" fmla="*/ 2147483647 w 89"/>
                <a:gd name="T29" fmla="*/ 2147483647 h 50"/>
                <a:gd name="T30" fmla="*/ 2147483647 w 89"/>
                <a:gd name="T31" fmla="*/ 2147483647 h 50"/>
                <a:gd name="T32" fmla="*/ 2147483647 w 89"/>
                <a:gd name="T33" fmla="*/ 2147483647 h 50"/>
                <a:gd name="T34" fmla="*/ 2147483647 w 89"/>
                <a:gd name="T35" fmla="*/ 2147483647 h 50"/>
                <a:gd name="T36" fmla="*/ 2147483647 w 89"/>
                <a:gd name="T37" fmla="*/ 2147483647 h 50"/>
                <a:gd name="T38" fmla="*/ 2147483647 w 89"/>
                <a:gd name="T39" fmla="*/ 2147483647 h 50"/>
                <a:gd name="T40" fmla="*/ 2147483647 w 89"/>
                <a:gd name="T41" fmla="*/ 2147483647 h 50"/>
                <a:gd name="T42" fmla="*/ 2147483647 w 89"/>
                <a:gd name="T43" fmla="*/ 2147483647 h 50"/>
                <a:gd name="T44" fmla="*/ 2147483647 w 89"/>
                <a:gd name="T45" fmla="*/ 2147483647 h 50"/>
                <a:gd name="T46" fmla="*/ 2147483647 w 89"/>
                <a:gd name="T47" fmla="*/ 2147483647 h 50"/>
                <a:gd name="T48" fmla="*/ 0 w 89"/>
                <a:gd name="T49" fmla="*/ 2147483647 h 5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9"/>
                <a:gd name="T76" fmla="*/ 0 h 50"/>
                <a:gd name="T77" fmla="*/ 89 w 89"/>
                <a:gd name="T78" fmla="*/ 50 h 5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9" h="50">
                  <a:moveTo>
                    <a:pt x="0" y="27"/>
                  </a:moveTo>
                  <a:lnTo>
                    <a:pt x="0" y="23"/>
                  </a:lnTo>
                  <a:lnTo>
                    <a:pt x="8" y="18"/>
                  </a:lnTo>
                  <a:lnTo>
                    <a:pt x="17" y="9"/>
                  </a:lnTo>
                  <a:lnTo>
                    <a:pt x="26" y="9"/>
                  </a:lnTo>
                  <a:lnTo>
                    <a:pt x="49" y="5"/>
                  </a:lnTo>
                  <a:lnTo>
                    <a:pt x="49" y="0"/>
                  </a:lnTo>
                  <a:lnTo>
                    <a:pt x="67" y="5"/>
                  </a:lnTo>
                  <a:lnTo>
                    <a:pt x="75" y="9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9" y="18"/>
                  </a:lnTo>
                  <a:lnTo>
                    <a:pt x="75" y="27"/>
                  </a:lnTo>
                  <a:lnTo>
                    <a:pt x="71" y="27"/>
                  </a:lnTo>
                  <a:lnTo>
                    <a:pt x="58" y="36"/>
                  </a:lnTo>
                  <a:lnTo>
                    <a:pt x="49" y="36"/>
                  </a:lnTo>
                  <a:lnTo>
                    <a:pt x="40" y="41"/>
                  </a:lnTo>
                  <a:lnTo>
                    <a:pt x="40" y="45"/>
                  </a:lnTo>
                  <a:lnTo>
                    <a:pt x="31" y="50"/>
                  </a:lnTo>
                  <a:lnTo>
                    <a:pt x="31" y="41"/>
                  </a:lnTo>
                  <a:lnTo>
                    <a:pt x="22" y="45"/>
                  </a:lnTo>
                  <a:lnTo>
                    <a:pt x="22" y="32"/>
                  </a:lnTo>
                  <a:lnTo>
                    <a:pt x="13" y="32"/>
                  </a:lnTo>
                  <a:lnTo>
                    <a:pt x="8" y="27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1" name="Freeform 285"/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2398713" y="4637088"/>
              <a:ext cx="42862" cy="20637"/>
            </a:xfrm>
            <a:custGeom>
              <a:avLst/>
              <a:gdLst>
                <a:gd name="T0" fmla="*/ 0 w 32"/>
                <a:gd name="T1" fmla="*/ 2147483647 h 18"/>
                <a:gd name="T2" fmla="*/ 2147483647 w 32"/>
                <a:gd name="T3" fmla="*/ 2147483647 h 18"/>
                <a:gd name="T4" fmla="*/ 2147483647 w 32"/>
                <a:gd name="T5" fmla="*/ 2147483647 h 18"/>
                <a:gd name="T6" fmla="*/ 2147483647 w 32"/>
                <a:gd name="T7" fmla="*/ 2147483647 h 18"/>
                <a:gd name="T8" fmla="*/ 2147483647 w 32"/>
                <a:gd name="T9" fmla="*/ 2147483647 h 18"/>
                <a:gd name="T10" fmla="*/ 2147483647 w 32"/>
                <a:gd name="T11" fmla="*/ 2147483647 h 18"/>
                <a:gd name="T12" fmla="*/ 2147483647 w 32"/>
                <a:gd name="T13" fmla="*/ 0 h 18"/>
                <a:gd name="T14" fmla="*/ 2147483647 w 32"/>
                <a:gd name="T15" fmla="*/ 0 h 18"/>
                <a:gd name="T16" fmla="*/ 0 w 32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18"/>
                <a:gd name="T29" fmla="*/ 32 w 32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18">
                  <a:moveTo>
                    <a:pt x="0" y="5"/>
                  </a:moveTo>
                  <a:lnTo>
                    <a:pt x="9" y="14"/>
                  </a:lnTo>
                  <a:lnTo>
                    <a:pt x="18" y="18"/>
                  </a:lnTo>
                  <a:lnTo>
                    <a:pt x="32" y="14"/>
                  </a:lnTo>
                  <a:lnTo>
                    <a:pt x="32" y="9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2" name="Freeform 286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2740025" y="4706938"/>
              <a:ext cx="7938" cy="11112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2147483647 h 9"/>
                <a:gd name="T4" fmla="*/ 0 w 5"/>
                <a:gd name="T5" fmla="*/ 0 h 9"/>
                <a:gd name="T6" fmla="*/ 0 w 5"/>
                <a:gd name="T7" fmla="*/ 0 h 9"/>
                <a:gd name="T8" fmla="*/ 0 w 5"/>
                <a:gd name="T9" fmla="*/ 2147483647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5" y="9"/>
                  </a:moveTo>
                  <a:lnTo>
                    <a:pt x="5" y="5"/>
                  </a:lnTo>
                  <a:lnTo>
                    <a:pt x="0" y="0"/>
                  </a:lnTo>
                  <a:lnTo>
                    <a:pt x="0" y="9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3" name="Freeform 287"/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1635125" y="4364038"/>
              <a:ext cx="604838" cy="354012"/>
            </a:xfrm>
            <a:custGeom>
              <a:avLst/>
              <a:gdLst>
                <a:gd name="T0" fmla="*/ 2147483647 w 442"/>
                <a:gd name="T1" fmla="*/ 2147483647 h 290"/>
                <a:gd name="T2" fmla="*/ 2147483647 w 442"/>
                <a:gd name="T3" fmla="*/ 2147483647 h 290"/>
                <a:gd name="T4" fmla="*/ 2147483647 w 442"/>
                <a:gd name="T5" fmla="*/ 2147483647 h 290"/>
                <a:gd name="T6" fmla="*/ 2147483647 w 442"/>
                <a:gd name="T7" fmla="*/ 2147483647 h 290"/>
                <a:gd name="T8" fmla="*/ 2147483647 w 442"/>
                <a:gd name="T9" fmla="*/ 2147483647 h 290"/>
                <a:gd name="T10" fmla="*/ 2147483647 w 442"/>
                <a:gd name="T11" fmla="*/ 2147483647 h 290"/>
                <a:gd name="T12" fmla="*/ 2147483647 w 442"/>
                <a:gd name="T13" fmla="*/ 2147483647 h 290"/>
                <a:gd name="T14" fmla="*/ 2147483647 w 442"/>
                <a:gd name="T15" fmla="*/ 2147483647 h 290"/>
                <a:gd name="T16" fmla="*/ 2147483647 w 442"/>
                <a:gd name="T17" fmla="*/ 2147483647 h 290"/>
                <a:gd name="T18" fmla="*/ 2147483647 w 442"/>
                <a:gd name="T19" fmla="*/ 2147483647 h 290"/>
                <a:gd name="T20" fmla="*/ 2147483647 w 442"/>
                <a:gd name="T21" fmla="*/ 2147483647 h 290"/>
                <a:gd name="T22" fmla="*/ 2147483647 w 442"/>
                <a:gd name="T23" fmla="*/ 2147483647 h 290"/>
                <a:gd name="T24" fmla="*/ 2147483647 w 442"/>
                <a:gd name="T25" fmla="*/ 2147483647 h 290"/>
                <a:gd name="T26" fmla="*/ 2147483647 w 442"/>
                <a:gd name="T27" fmla="*/ 2147483647 h 290"/>
                <a:gd name="T28" fmla="*/ 2147483647 w 442"/>
                <a:gd name="T29" fmla="*/ 2147483647 h 290"/>
                <a:gd name="T30" fmla="*/ 2147483647 w 442"/>
                <a:gd name="T31" fmla="*/ 2147483647 h 290"/>
                <a:gd name="T32" fmla="*/ 2147483647 w 442"/>
                <a:gd name="T33" fmla="*/ 2147483647 h 290"/>
                <a:gd name="T34" fmla="*/ 2147483647 w 442"/>
                <a:gd name="T35" fmla="*/ 2147483647 h 290"/>
                <a:gd name="T36" fmla="*/ 2147483647 w 442"/>
                <a:gd name="T37" fmla="*/ 2147483647 h 290"/>
                <a:gd name="T38" fmla="*/ 2147483647 w 442"/>
                <a:gd name="T39" fmla="*/ 2147483647 h 290"/>
                <a:gd name="T40" fmla="*/ 2147483647 w 442"/>
                <a:gd name="T41" fmla="*/ 2147483647 h 290"/>
                <a:gd name="T42" fmla="*/ 2147483647 w 442"/>
                <a:gd name="T43" fmla="*/ 2147483647 h 290"/>
                <a:gd name="T44" fmla="*/ 2147483647 w 442"/>
                <a:gd name="T45" fmla="*/ 2147483647 h 290"/>
                <a:gd name="T46" fmla="*/ 2147483647 w 442"/>
                <a:gd name="T47" fmla="*/ 2147483647 h 290"/>
                <a:gd name="T48" fmla="*/ 2147483647 w 442"/>
                <a:gd name="T49" fmla="*/ 2147483647 h 290"/>
                <a:gd name="T50" fmla="*/ 2147483647 w 442"/>
                <a:gd name="T51" fmla="*/ 2147483647 h 290"/>
                <a:gd name="T52" fmla="*/ 2147483647 w 442"/>
                <a:gd name="T53" fmla="*/ 2147483647 h 290"/>
                <a:gd name="T54" fmla="*/ 2147483647 w 442"/>
                <a:gd name="T55" fmla="*/ 2147483647 h 290"/>
                <a:gd name="T56" fmla="*/ 2147483647 w 442"/>
                <a:gd name="T57" fmla="*/ 2147483647 h 290"/>
                <a:gd name="T58" fmla="*/ 2147483647 w 442"/>
                <a:gd name="T59" fmla="*/ 2147483647 h 290"/>
                <a:gd name="T60" fmla="*/ 2147483647 w 442"/>
                <a:gd name="T61" fmla="*/ 2147483647 h 290"/>
                <a:gd name="T62" fmla="*/ 2147483647 w 442"/>
                <a:gd name="T63" fmla="*/ 2147483647 h 290"/>
                <a:gd name="T64" fmla="*/ 2147483647 w 442"/>
                <a:gd name="T65" fmla="*/ 2147483647 h 290"/>
                <a:gd name="T66" fmla="*/ 2147483647 w 442"/>
                <a:gd name="T67" fmla="*/ 2147483647 h 290"/>
                <a:gd name="T68" fmla="*/ 2147483647 w 442"/>
                <a:gd name="T69" fmla="*/ 2147483647 h 290"/>
                <a:gd name="T70" fmla="*/ 2147483647 w 442"/>
                <a:gd name="T71" fmla="*/ 2147483647 h 290"/>
                <a:gd name="T72" fmla="*/ 2147483647 w 442"/>
                <a:gd name="T73" fmla="*/ 2147483647 h 290"/>
                <a:gd name="T74" fmla="*/ 2147483647 w 442"/>
                <a:gd name="T75" fmla="*/ 2147483647 h 290"/>
                <a:gd name="T76" fmla="*/ 2147483647 w 442"/>
                <a:gd name="T77" fmla="*/ 2147483647 h 290"/>
                <a:gd name="T78" fmla="*/ 2147483647 w 442"/>
                <a:gd name="T79" fmla="*/ 2147483647 h 290"/>
                <a:gd name="T80" fmla="*/ 2147483647 w 442"/>
                <a:gd name="T81" fmla="*/ 2147483647 h 290"/>
                <a:gd name="T82" fmla="*/ 2147483647 w 442"/>
                <a:gd name="T83" fmla="*/ 2147483647 h 290"/>
                <a:gd name="T84" fmla="*/ 2147483647 w 442"/>
                <a:gd name="T85" fmla="*/ 2147483647 h 290"/>
                <a:gd name="T86" fmla="*/ 2147483647 w 442"/>
                <a:gd name="T87" fmla="*/ 2147483647 h 290"/>
                <a:gd name="T88" fmla="*/ 2147483647 w 442"/>
                <a:gd name="T89" fmla="*/ 2147483647 h 290"/>
                <a:gd name="T90" fmla="*/ 2147483647 w 442"/>
                <a:gd name="T91" fmla="*/ 2147483647 h 29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42"/>
                <a:gd name="T139" fmla="*/ 0 h 290"/>
                <a:gd name="T140" fmla="*/ 442 w 442"/>
                <a:gd name="T141" fmla="*/ 290 h 29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42" h="290">
                  <a:moveTo>
                    <a:pt x="0" y="4"/>
                  </a:moveTo>
                  <a:lnTo>
                    <a:pt x="0" y="9"/>
                  </a:lnTo>
                  <a:lnTo>
                    <a:pt x="4" y="9"/>
                  </a:lnTo>
                  <a:lnTo>
                    <a:pt x="18" y="36"/>
                  </a:lnTo>
                  <a:lnTo>
                    <a:pt x="22" y="49"/>
                  </a:lnTo>
                  <a:lnTo>
                    <a:pt x="36" y="53"/>
                  </a:lnTo>
                  <a:lnTo>
                    <a:pt x="45" y="67"/>
                  </a:lnTo>
                  <a:lnTo>
                    <a:pt x="45" y="76"/>
                  </a:lnTo>
                  <a:lnTo>
                    <a:pt x="49" y="80"/>
                  </a:lnTo>
                  <a:lnTo>
                    <a:pt x="40" y="76"/>
                  </a:lnTo>
                  <a:lnTo>
                    <a:pt x="31" y="80"/>
                  </a:lnTo>
                  <a:lnTo>
                    <a:pt x="40" y="94"/>
                  </a:lnTo>
                  <a:lnTo>
                    <a:pt x="54" y="98"/>
                  </a:lnTo>
                  <a:lnTo>
                    <a:pt x="58" y="94"/>
                  </a:lnTo>
                  <a:lnTo>
                    <a:pt x="71" y="107"/>
                  </a:lnTo>
                  <a:lnTo>
                    <a:pt x="71" y="134"/>
                  </a:lnTo>
                  <a:lnTo>
                    <a:pt x="80" y="138"/>
                  </a:lnTo>
                  <a:lnTo>
                    <a:pt x="80" y="134"/>
                  </a:lnTo>
                  <a:lnTo>
                    <a:pt x="76" y="134"/>
                  </a:lnTo>
                  <a:lnTo>
                    <a:pt x="76" y="129"/>
                  </a:lnTo>
                  <a:lnTo>
                    <a:pt x="80" y="129"/>
                  </a:lnTo>
                  <a:lnTo>
                    <a:pt x="85" y="138"/>
                  </a:lnTo>
                  <a:lnTo>
                    <a:pt x="107" y="161"/>
                  </a:lnTo>
                  <a:lnTo>
                    <a:pt x="116" y="147"/>
                  </a:lnTo>
                  <a:lnTo>
                    <a:pt x="112" y="138"/>
                  </a:lnTo>
                  <a:lnTo>
                    <a:pt x="112" y="134"/>
                  </a:lnTo>
                  <a:lnTo>
                    <a:pt x="107" y="134"/>
                  </a:lnTo>
                  <a:lnTo>
                    <a:pt x="107" y="138"/>
                  </a:lnTo>
                  <a:lnTo>
                    <a:pt x="103" y="134"/>
                  </a:lnTo>
                  <a:lnTo>
                    <a:pt x="98" y="138"/>
                  </a:lnTo>
                  <a:lnTo>
                    <a:pt x="94" y="120"/>
                  </a:lnTo>
                  <a:lnTo>
                    <a:pt x="89" y="111"/>
                  </a:lnTo>
                  <a:lnTo>
                    <a:pt x="94" y="111"/>
                  </a:lnTo>
                  <a:lnTo>
                    <a:pt x="94" y="107"/>
                  </a:lnTo>
                  <a:lnTo>
                    <a:pt x="89" y="107"/>
                  </a:lnTo>
                  <a:lnTo>
                    <a:pt x="80" y="94"/>
                  </a:lnTo>
                  <a:lnTo>
                    <a:pt x="80" y="98"/>
                  </a:lnTo>
                  <a:lnTo>
                    <a:pt x="58" y="62"/>
                  </a:lnTo>
                  <a:lnTo>
                    <a:pt x="63" y="58"/>
                  </a:lnTo>
                  <a:lnTo>
                    <a:pt x="54" y="53"/>
                  </a:lnTo>
                  <a:lnTo>
                    <a:pt x="54" y="58"/>
                  </a:lnTo>
                  <a:lnTo>
                    <a:pt x="49" y="49"/>
                  </a:lnTo>
                  <a:lnTo>
                    <a:pt x="40" y="44"/>
                  </a:lnTo>
                  <a:lnTo>
                    <a:pt x="36" y="18"/>
                  </a:lnTo>
                  <a:lnTo>
                    <a:pt x="58" y="22"/>
                  </a:lnTo>
                  <a:lnTo>
                    <a:pt x="58" y="31"/>
                  </a:lnTo>
                  <a:lnTo>
                    <a:pt x="71" y="58"/>
                  </a:lnTo>
                  <a:lnTo>
                    <a:pt x="67" y="58"/>
                  </a:lnTo>
                  <a:lnTo>
                    <a:pt x="67" y="67"/>
                  </a:lnTo>
                  <a:lnTo>
                    <a:pt x="71" y="67"/>
                  </a:lnTo>
                  <a:lnTo>
                    <a:pt x="76" y="62"/>
                  </a:lnTo>
                  <a:lnTo>
                    <a:pt x="71" y="58"/>
                  </a:lnTo>
                  <a:lnTo>
                    <a:pt x="80" y="67"/>
                  </a:lnTo>
                  <a:lnTo>
                    <a:pt x="89" y="80"/>
                  </a:lnTo>
                  <a:lnTo>
                    <a:pt x="94" y="80"/>
                  </a:lnTo>
                  <a:lnTo>
                    <a:pt x="98" y="89"/>
                  </a:lnTo>
                  <a:lnTo>
                    <a:pt x="103" y="89"/>
                  </a:lnTo>
                  <a:lnTo>
                    <a:pt x="112" y="98"/>
                  </a:lnTo>
                  <a:lnTo>
                    <a:pt x="116" y="98"/>
                  </a:lnTo>
                  <a:lnTo>
                    <a:pt x="121" y="103"/>
                  </a:lnTo>
                  <a:lnTo>
                    <a:pt x="116" y="116"/>
                  </a:lnTo>
                  <a:lnTo>
                    <a:pt x="121" y="120"/>
                  </a:lnTo>
                  <a:lnTo>
                    <a:pt x="130" y="120"/>
                  </a:lnTo>
                  <a:lnTo>
                    <a:pt x="152" y="147"/>
                  </a:lnTo>
                  <a:lnTo>
                    <a:pt x="152" y="152"/>
                  </a:lnTo>
                  <a:lnTo>
                    <a:pt x="170" y="165"/>
                  </a:lnTo>
                  <a:lnTo>
                    <a:pt x="174" y="187"/>
                  </a:lnTo>
                  <a:lnTo>
                    <a:pt x="174" y="192"/>
                  </a:lnTo>
                  <a:lnTo>
                    <a:pt x="174" y="196"/>
                  </a:lnTo>
                  <a:lnTo>
                    <a:pt x="170" y="201"/>
                  </a:lnTo>
                  <a:lnTo>
                    <a:pt x="174" y="210"/>
                  </a:lnTo>
                  <a:lnTo>
                    <a:pt x="201" y="232"/>
                  </a:lnTo>
                  <a:lnTo>
                    <a:pt x="228" y="237"/>
                  </a:lnTo>
                  <a:lnTo>
                    <a:pt x="237" y="254"/>
                  </a:lnTo>
                  <a:lnTo>
                    <a:pt x="259" y="259"/>
                  </a:lnTo>
                  <a:lnTo>
                    <a:pt x="295" y="277"/>
                  </a:lnTo>
                  <a:lnTo>
                    <a:pt x="308" y="272"/>
                  </a:lnTo>
                  <a:lnTo>
                    <a:pt x="317" y="268"/>
                  </a:lnTo>
                  <a:lnTo>
                    <a:pt x="331" y="268"/>
                  </a:lnTo>
                  <a:lnTo>
                    <a:pt x="339" y="272"/>
                  </a:lnTo>
                  <a:lnTo>
                    <a:pt x="357" y="290"/>
                  </a:lnTo>
                  <a:lnTo>
                    <a:pt x="362" y="268"/>
                  </a:lnTo>
                  <a:lnTo>
                    <a:pt x="384" y="268"/>
                  </a:lnTo>
                  <a:lnTo>
                    <a:pt x="384" y="263"/>
                  </a:lnTo>
                  <a:lnTo>
                    <a:pt x="371" y="246"/>
                  </a:lnTo>
                  <a:lnTo>
                    <a:pt x="375" y="237"/>
                  </a:lnTo>
                  <a:lnTo>
                    <a:pt x="393" y="237"/>
                  </a:lnTo>
                  <a:lnTo>
                    <a:pt x="398" y="241"/>
                  </a:lnTo>
                  <a:lnTo>
                    <a:pt x="402" y="237"/>
                  </a:lnTo>
                  <a:lnTo>
                    <a:pt x="411" y="228"/>
                  </a:lnTo>
                  <a:lnTo>
                    <a:pt x="415" y="223"/>
                  </a:lnTo>
                  <a:lnTo>
                    <a:pt x="420" y="232"/>
                  </a:lnTo>
                  <a:lnTo>
                    <a:pt x="429" y="214"/>
                  </a:lnTo>
                  <a:lnTo>
                    <a:pt x="424" y="210"/>
                  </a:lnTo>
                  <a:lnTo>
                    <a:pt x="433" y="201"/>
                  </a:lnTo>
                  <a:lnTo>
                    <a:pt x="433" y="205"/>
                  </a:lnTo>
                  <a:lnTo>
                    <a:pt x="442" y="196"/>
                  </a:lnTo>
                  <a:lnTo>
                    <a:pt x="438" y="196"/>
                  </a:lnTo>
                  <a:lnTo>
                    <a:pt x="438" y="183"/>
                  </a:lnTo>
                  <a:lnTo>
                    <a:pt x="433" y="179"/>
                  </a:lnTo>
                  <a:lnTo>
                    <a:pt x="415" y="179"/>
                  </a:lnTo>
                  <a:lnTo>
                    <a:pt x="398" y="183"/>
                  </a:lnTo>
                  <a:lnTo>
                    <a:pt x="384" y="192"/>
                  </a:lnTo>
                  <a:lnTo>
                    <a:pt x="389" y="192"/>
                  </a:lnTo>
                  <a:lnTo>
                    <a:pt x="384" y="210"/>
                  </a:lnTo>
                  <a:lnTo>
                    <a:pt x="375" y="219"/>
                  </a:lnTo>
                  <a:lnTo>
                    <a:pt x="380" y="223"/>
                  </a:lnTo>
                  <a:lnTo>
                    <a:pt x="366" y="223"/>
                  </a:lnTo>
                  <a:lnTo>
                    <a:pt x="366" y="219"/>
                  </a:lnTo>
                  <a:lnTo>
                    <a:pt x="339" y="228"/>
                  </a:lnTo>
                  <a:lnTo>
                    <a:pt x="326" y="232"/>
                  </a:lnTo>
                  <a:lnTo>
                    <a:pt x="322" y="228"/>
                  </a:lnTo>
                  <a:lnTo>
                    <a:pt x="308" y="219"/>
                  </a:lnTo>
                  <a:lnTo>
                    <a:pt x="299" y="205"/>
                  </a:lnTo>
                  <a:lnTo>
                    <a:pt x="290" y="196"/>
                  </a:lnTo>
                  <a:lnTo>
                    <a:pt x="286" y="187"/>
                  </a:lnTo>
                  <a:lnTo>
                    <a:pt x="286" y="179"/>
                  </a:lnTo>
                  <a:lnTo>
                    <a:pt x="281" y="174"/>
                  </a:lnTo>
                  <a:lnTo>
                    <a:pt x="281" y="156"/>
                  </a:lnTo>
                  <a:lnTo>
                    <a:pt x="286" y="143"/>
                  </a:lnTo>
                  <a:lnTo>
                    <a:pt x="281" y="138"/>
                  </a:lnTo>
                  <a:lnTo>
                    <a:pt x="281" y="134"/>
                  </a:lnTo>
                  <a:lnTo>
                    <a:pt x="286" y="125"/>
                  </a:lnTo>
                  <a:lnTo>
                    <a:pt x="290" y="111"/>
                  </a:lnTo>
                  <a:lnTo>
                    <a:pt x="286" y="111"/>
                  </a:lnTo>
                  <a:lnTo>
                    <a:pt x="264" y="103"/>
                  </a:lnTo>
                  <a:lnTo>
                    <a:pt x="255" y="85"/>
                  </a:lnTo>
                  <a:lnTo>
                    <a:pt x="228" y="53"/>
                  </a:lnTo>
                  <a:lnTo>
                    <a:pt x="214" y="49"/>
                  </a:lnTo>
                  <a:lnTo>
                    <a:pt x="201" y="67"/>
                  </a:lnTo>
                  <a:lnTo>
                    <a:pt x="183" y="53"/>
                  </a:lnTo>
                  <a:lnTo>
                    <a:pt x="179" y="31"/>
                  </a:lnTo>
                  <a:lnTo>
                    <a:pt x="156" y="18"/>
                  </a:lnTo>
                  <a:lnTo>
                    <a:pt x="130" y="18"/>
                  </a:lnTo>
                  <a:lnTo>
                    <a:pt x="134" y="27"/>
                  </a:lnTo>
                  <a:lnTo>
                    <a:pt x="89" y="27"/>
                  </a:lnTo>
                  <a:lnTo>
                    <a:pt x="3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4" name="Freeform 288"/>
            <p:cNvSpPr>
              <a:spLocks noEditPoints="1"/>
            </p:cNvSpPr>
            <p:nvPr>
              <p:custDataLst>
                <p:tags r:id="rId44"/>
              </p:custDataLst>
            </p:nvPr>
          </p:nvSpPr>
          <p:spPr bwMode="gray">
            <a:xfrm>
              <a:off x="2576513" y="4751388"/>
              <a:ext cx="23812" cy="11112"/>
            </a:xfrm>
            <a:custGeom>
              <a:avLst/>
              <a:gdLst>
                <a:gd name="T0" fmla="*/ 2147483647 w 18"/>
                <a:gd name="T1" fmla="*/ 2147483647 h 9"/>
                <a:gd name="T2" fmla="*/ 2147483647 w 18"/>
                <a:gd name="T3" fmla="*/ 2147483647 h 9"/>
                <a:gd name="T4" fmla="*/ 2147483647 w 18"/>
                <a:gd name="T5" fmla="*/ 2147483647 h 9"/>
                <a:gd name="T6" fmla="*/ 2147483647 w 18"/>
                <a:gd name="T7" fmla="*/ 0 h 9"/>
                <a:gd name="T8" fmla="*/ 0 w 18"/>
                <a:gd name="T9" fmla="*/ 2147483647 h 9"/>
                <a:gd name="T10" fmla="*/ 2147483647 w 18"/>
                <a:gd name="T11" fmla="*/ 2147483647 h 9"/>
                <a:gd name="T12" fmla="*/ 2147483647 w 18"/>
                <a:gd name="T13" fmla="*/ 2147483647 h 9"/>
                <a:gd name="T14" fmla="*/ 2147483647 w 18"/>
                <a:gd name="T15" fmla="*/ 2147483647 h 9"/>
                <a:gd name="T16" fmla="*/ 2147483647 w 18"/>
                <a:gd name="T17" fmla="*/ 2147483647 h 9"/>
                <a:gd name="T18" fmla="*/ 2147483647 w 18"/>
                <a:gd name="T19" fmla="*/ 2147483647 h 9"/>
                <a:gd name="T20" fmla="*/ 2147483647 w 18"/>
                <a:gd name="T21" fmla="*/ 2147483647 h 9"/>
                <a:gd name="T22" fmla="*/ 2147483647 w 18"/>
                <a:gd name="T23" fmla="*/ 2147483647 h 9"/>
                <a:gd name="T24" fmla="*/ 2147483647 w 18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9"/>
                <a:gd name="T41" fmla="*/ 18 w 18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9">
                  <a:moveTo>
                    <a:pt x="9" y="9"/>
                  </a:moveTo>
                  <a:lnTo>
                    <a:pt x="9" y="9"/>
                  </a:lnTo>
                  <a:lnTo>
                    <a:pt x="13" y="5"/>
                  </a:lnTo>
                  <a:lnTo>
                    <a:pt x="4" y="0"/>
                  </a:lnTo>
                  <a:lnTo>
                    <a:pt x="0" y="5"/>
                  </a:lnTo>
                  <a:lnTo>
                    <a:pt x="9" y="9"/>
                  </a:lnTo>
                  <a:close/>
                  <a:moveTo>
                    <a:pt x="18" y="9"/>
                  </a:moveTo>
                  <a:lnTo>
                    <a:pt x="18" y="5"/>
                  </a:lnTo>
                  <a:lnTo>
                    <a:pt x="13" y="5"/>
                  </a:lnTo>
                  <a:lnTo>
                    <a:pt x="18" y="5"/>
                  </a:lnTo>
                  <a:lnTo>
                    <a:pt x="18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5" name="Freeform 289"/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2214563" y="4706938"/>
              <a:ext cx="92075" cy="76200"/>
            </a:xfrm>
            <a:custGeom>
              <a:avLst/>
              <a:gdLst>
                <a:gd name="T0" fmla="*/ 2147483647 w 67"/>
                <a:gd name="T1" fmla="*/ 2147483647 h 63"/>
                <a:gd name="T2" fmla="*/ 0 w 67"/>
                <a:gd name="T3" fmla="*/ 2147483647 h 63"/>
                <a:gd name="T4" fmla="*/ 2147483647 w 67"/>
                <a:gd name="T5" fmla="*/ 2147483647 h 63"/>
                <a:gd name="T6" fmla="*/ 2147483647 w 67"/>
                <a:gd name="T7" fmla="*/ 2147483647 h 63"/>
                <a:gd name="T8" fmla="*/ 2147483647 w 67"/>
                <a:gd name="T9" fmla="*/ 2147483647 h 63"/>
                <a:gd name="T10" fmla="*/ 2147483647 w 67"/>
                <a:gd name="T11" fmla="*/ 2147483647 h 63"/>
                <a:gd name="T12" fmla="*/ 2147483647 w 67"/>
                <a:gd name="T13" fmla="*/ 2147483647 h 63"/>
                <a:gd name="T14" fmla="*/ 2147483647 w 67"/>
                <a:gd name="T15" fmla="*/ 2147483647 h 63"/>
                <a:gd name="T16" fmla="*/ 2147483647 w 67"/>
                <a:gd name="T17" fmla="*/ 2147483647 h 63"/>
                <a:gd name="T18" fmla="*/ 2147483647 w 67"/>
                <a:gd name="T19" fmla="*/ 2147483647 h 63"/>
                <a:gd name="T20" fmla="*/ 2147483647 w 67"/>
                <a:gd name="T21" fmla="*/ 2147483647 h 63"/>
                <a:gd name="T22" fmla="*/ 2147483647 w 67"/>
                <a:gd name="T23" fmla="*/ 2147483647 h 63"/>
                <a:gd name="T24" fmla="*/ 2147483647 w 67"/>
                <a:gd name="T25" fmla="*/ 2147483647 h 63"/>
                <a:gd name="T26" fmla="*/ 2147483647 w 67"/>
                <a:gd name="T27" fmla="*/ 0 h 63"/>
                <a:gd name="T28" fmla="*/ 2147483647 w 67"/>
                <a:gd name="T29" fmla="*/ 2147483647 h 63"/>
                <a:gd name="T30" fmla="*/ 2147483647 w 67"/>
                <a:gd name="T31" fmla="*/ 2147483647 h 63"/>
                <a:gd name="T32" fmla="*/ 2147483647 w 67"/>
                <a:gd name="T33" fmla="*/ 2147483647 h 63"/>
                <a:gd name="T34" fmla="*/ 2147483647 w 67"/>
                <a:gd name="T35" fmla="*/ 2147483647 h 63"/>
                <a:gd name="T36" fmla="*/ 2147483647 w 67"/>
                <a:gd name="T37" fmla="*/ 2147483647 h 63"/>
                <a:gd name="T38" fmla="*/ 2147483647 w 67"/>
                <a:gd name="T39" fmla="*/ 2147483647 h 63"/>
                <a:gd name="T40" fmla="*/ 2147483647 w 67"/>
                <a:gd name="T41" fmla="*/ 2147483647 h 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7"/>
                <a:gd name="T64" fmla="*/ 0 h 63"/>
                <a:gd name="T65" fmla="*/ 67 w 67"/>
                <a:gd name="T66" fmla="*/ 63 h 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7" h="63">
                  <a:moveTo>
                    <a:pt x="5" y="32"/>
                  </a:moveTo>
                  <a:lnTo>
                    <a:pt x="0" y="36"/>
                  </a:lnTo>
                  <a:lnTo>
                    <a:pt x="27" y="58"/>
                  </a:lnTo>
                  <a:lnTo>
                    <a:pt x="45" y="58"/>
                  </a:lnTo>
                  <a:lnTo>
                    <a:pt x="58" y="63"/>
                  </a:lnTo>
                  <a:lnTo>
                    <a:pt x="58" y="54"/>
                  </a:lnTo>
                  <a:lnTo>
                    <a:pt x="63" y="54"/>
                  </a:lnTo>
                  <a:lnTo>
                    <a:pt x="58" y="41"/>
                  </a:lnTo>
                  <a:lnTo>
                    <a:pt x="63" y="36"/>
                  </a:lnTo>
                  <a:lnTo>
                    <a:pt x="63" y="27"/>
                  </a:lnTo>
                  <a:lnTo>
                    <a:pt x="67" y="9"/>
                  </a:lnTo>
                  <a:lnTo>
                    <a:pt x="63" y="5"/>
                  </a:lnTo>
                  <a:lnTo>
                    <a:pt x="63" y="0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32" y="18"/>
                  </a:lnTo>
                  <a:lnTo>
                    <a:pt x="23" y="18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5" y="3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6" name="Freeform 290"/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2306638" y="4805363"/>
              <a:ext cx="111125" cy="49212"/>
            </a:xfrm>
            <a:custGeom>
              <a:avLst/>
              <a:gdLst>
                <a:gd name="T0" fmla="*/ 0 w 81"/>
                <a:gd name="T1" fmla="*/ 2147483647 h 40"/>
                <a:gd name="T2" fmla="*/ 0 w 81"/>
                <a:gd name="T3" fmla="*/ 2147483647 h 40"/>
                <a:gd name="T4" fmla="*/ 2147483647 w 81"/>
                <a:gd name="T5" fmla="*/ 0 h 40"/>
                <a:gd name="T6" fmla="*/ 2147483647 w 81"/>
                <a:gd name="T7" fmla="*/ 2147483647 h 40"/>
                <a:gd name="T8" fmla="*/ 2147483647 w 81"/>
                <a:gd name="T9" fmla="*/ 2147483647 h 40"/>
                <a:gd name="T10" fmla="*/ 2147483647 w 81"/>
                <a:gd name="T11" fmla="*/ 2147483647 h 40"/>
                <a:gd name="T12" fmla="*/ 2147483647 w 81"/>
                <a:gd name="T13" fmla="*/ 0 h 40"/>
                <a:gd name="T14" fmla="*/ 2147483647 w 81"/>
                <a:gd name="T15" fmla="*/ 0 h 40"/>
                <a:gd name="T16" fmla="*/ 2147483647 w 81"/>
                <a:gd name="T17" fmla="*/ 2147483647 h 40"/>
                <a:gd name="T18" fmla="*/ 2147483647 w 81"/>
                <a:gd name="T19" fmla="*/ 2147483647 h 40"/>
                <a:gd name="T20" fmla="*/ 2147483647 w 81"/>
                <a:gd name="T21" fmla="*/ 2147483647 h 40"/>
                <a:gd name="T22" fmla="*/ 2147483647 w 81"/>
                <a:gd name="T23" fmla="*/ 2147483647 h 40"/>
                <a:gd name="T24" fmla="*/ 2147483647 w 81"/>
                <a:gd name="T25" fmla="*/ 2147483647 h 40"/>
                <a:gd name="T26" fmla="*/ 2147483647 w 81"/>
                <a:gd name="T27" fmla="*/ 2147483647 h 40"/>
                <a:gd name="T28" fmla="*/ 2147483647 w 81"/>
                <a:gd name="T29" fmla="*/ 2147483647 h 40"/>
                <a:gd name="T30" fmla="*/ 2147483647 w 81"/>
                <a:gd name="T31" fmla="*/ 2147483647 h 40"/>
                <a:gd name="T32" fmla="*/ 2147483647 w 81"/>
                <a:gd name="T33" fmla="*/ 2147483647 h 40"/>
                <a:gd name="T34" fmla="*/ 2147483647 w 81"/>
                <a:gd name="T35" fmla="*/ 2147483647 h 40"/>
                <a:gd name="T36" fmla="*/ 2147483647 w 81"/>
                <a:gd name="T37" fmla="*/ 2147483647 h 40"/>
                <a:gd name="T38" fmla="*/ 2147483647 w 81"/>
                <a:gd name="T39" fmla="*/ 2147483647 h 40"/>
                <a:gd name="T40" fmla="*/ 2147483647 w 81"/>
                <a:gd name="T41" fmla="*/ 2147483647 h 40"/>
                <a:gd name="T42" fmla="*/ 2147483647 w 81"/>
                <a:gd name="T43" fmla="*/ 2147483647 h 40"/>
                <a:gd name="T44" fmla="*/ 2147483647 w 81"/>
                <a:gd name="T45" fmla="*/ 2147483647 h 40"/>
                <a:gd name="T46" fmla="*/ 2147483647 w 81"/>
                <a:gd name="T47" fmla="*/ 2147483647 h 40"/>
                <a:gd name="T48" fmla="*/ 2147483647 w 81"/>
                <a:gd name="T49" fmla="*/ 2147483647 h 40"/>
                <a:gd name="T50" fmla="*/ 0 w 81"/>
                <a:gd name="T51" fmla="*/ 2147483647 h 4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1"/>
                <a:gd name="T79" fmla="*/ 0 h 40"/>
                <a:gd name="T80" fmla="*/ 81 w 81"/>
                <a:gd name="T81" fmla="*/ 40 h 4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1" h="40">
                  <a:moveTo>
                    <a:pt x="0" y="18"/>
                  </a:moveTo>
                  <a:lnTo>
                    <a:pt x="0" y="4"/>
                  </a:lnTo>
                  <a:lnTo>
                    <a:pt x="9" y="0"/>
                  </a:lnTo>
                  <a:lnTo>
                    <a:pt x="14" y="9"/>
                  </a:lnTo>
                  <a:lnTo>
                    <a:pt x="18" y="4"/>
                  </a:lnTo>
                  <a:lnTo>
                    <a:pt x="27" y="1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4"/>
                  </a:lnTo>
                  <a:lnTo>
                    <a:pt x="81" y="13"/>
                  </a:lnTo>
                  <a:lnTo>
                    <a:pt x="81" y="27"/>
                  </a:lnTo>
                  <a:lnTo>
                    <a:pt x="72" y="31"/>
                  </a:lnTo>
                  <a:lnTo>
                    <a:pt x="67" y="27"/>
                  </a:lnTo>
                  <a:lnTo>
                    <a:pt x="72" y="18"/>
                  </a:lnTo>
                  <a:lnTo>
                    <a:pt x="58" y="13"/>
                  </a:lnTo>
                  <a:lnTo>
                    <a:pt x="49" y="9"/>
                  </a:lnTo>
                  <a:lnTo>
                    <a:pt x="45" y="18"/>
                  </a:lnTo>
                  <a:lnTo>
                    <a:pt x="41" y="22"/>
                  </a:lnTo>
                  <a:lnTo>
                    <a:pt x="45" y="31"/>
                  </a:lnTo>
                  <a:lnTo>
                    <a:pt x="32" y="40"/>
                  </a:lnTo>
                  <a:lnTo>
                    <a:pt x="27" y="31"/>
                  </a:lnTo>
                  <a:lnTo>
                    <a:pt x="18" y="27"/>
                  </a:lnTo>
                  <a:lnTo>
                    <a:pt x="9" y="18"/>
                  </a:lnTo>
                  <a:lnTo>
                    <a:pt x="5" y="27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7" name="Freeform 291"/>
            <p:cNvSpPr>
              <a:spLocks/>
            </p:cNvSpPr>
            <p:nvPr>
              <p:custDataLst>
                <p:tags r:id="rId47"/>
              </p:custDataLst>
            </p:nvPr>
          </p:nvSpPr>
          <p:spPr bwMode="gray">
            <a:xfrm>
              <a:off x="2709863" y="5327650"/>
              <a:ext cx="166687" cy="157163"/>
            </a:xfrm>
            <a:custGeom>
              <a:avLst/>
              <a:gdLst>
                <a:gd name="T0" fmla="*/ 0 w 121"/>
                <a:gd name="T1" fmla="*/ 2147483647 h 129"/>
                <a:gd name="T2" fmla="*/ 2147483647 w 121"/>
                <a:gd name="T3" fmla="*/ 2147483647 h 129"/>
                <a:gd name="T4" fmla="*/ 2147483647 w 121"/>
                <a:gd name="T5" fmla="*/ 2147483647 h 129"/>
                <a:gd name="T6" fmla="*/ 2147483647 w 121"/>
                <a:gd name="T7" fmla="*/ 2147483647 h 129"/>
                <a:gd name="T8" fmla="*/ 2147483647 w 121"/>
                <a:gd name="T9" fmla="*/ 0 h 129"/>
                <a:gd name="T10" fmla="*/ 2147483647 w 121"/>
                <a:gd name="T11" fmla="*/ 2147483647 h 129"/>
                <a:gd name="T12" fmla="*/ 2147483647 w 121"/>
                <a:gd name="T13" fmla="*/ 2147483647 h 129"/>
                <a:gd name="T14" fmla="*/ 2147483647 w 121"/>
                <a:gd name="T15" fmla="*/ 2147483647 h 129"/>
                <a:gd name="T16" fmla="*/ 2147483647 w 121"/>
                <a:gd name="T17" fmla="*/ 2147483647 h 129"/>
                <a:gd name="T18" fmla="*/ 2147483647 w 121"/>
                <a:gd name="T19" fmla="*/ 2147483647 h 129"/>
                <a:gd name="T20" fmla="*/ 2147483647 w 121"/>
                <a:gd name="T21" fmla="*/ 2147483647 h 129"/>
                <a:gd name="T22" fmla="*/ 2147483647 w 121"/>
                <a:gd name="T23" fmla="*/ 2147483647 h 129"/>
                <a:gd name="T24" fmla="*/ 2147483647 w 121"/>
                <a:gd name="T25" fmla="*/ 2147483647 h 129"/>
                <a:gd name="T26" fmla="*/ 2147483647 w 121"/>
                <a:gd name="T27" fmla="*/ 2147483647 h 129"/>
                <a:gd name="T28" fmla="*/ 2147483647 w 121"/>
                <a:gd name="T29" fmla="*/ 2147483647 h 129"/>
                <a:gd name="T30" fmla="*/ 2147483647 w 121"/>
                <a:gd name="T31" fmla="*/ 2147483647 h 129"/>
                <a:gd name="T32" fmla="*/ 2147483647 w 121"/>
                <a:gd name="T33" fmla="*/ 2147483647 h 129"/>
                <a:gd name="T34" fmla="*/ 2147483647 w 121"/>
                <a:gd name="T35" fmla="*/ 2147483647 h 129"/>
                <a:gd name="T36" fmla="*/ 2147483647 w 121"/>
                <a:gd name="T37" fmla="*/ 2147483647 h 129"/>
                <a:gd name="T38" fmla="*/ 2147483647 w 121"/>
                <a:gd name="T39" fmla="*/ 2147483647 h 129"/>
                <a:gd name="T40" fmla="*/ 2147483647 w 121"/>
                <a:gd name="T41" fmla="*/ 2147483647 h 129"/>
                <a:gd name="T42" fmla="*/ 2147483647 w 121"/>
                <a:gd name="T43" fmla="*/ 2147483647 h 129"/>
                <a:gd name="T44" fmla="*/ 2147483647 w 121"/>
                <a:gd name="T45" fmla="*/ 2147483647 h 129"/>
                <a:gd name="T46" fmla="*/ 2147483647 w 121"/>
                <a:gd name="T47" fmla="*/ 2147483647 h 129"/>
                <a:gd name="T48" fmla="*/ 2147483647 w 121"/>
                <a:gd name="T49" fmla="*/ 2147483647 h 129"/>
                <a:gd name="T50" fmla="*/ 2147483647 w 121"/>
                <a:gd name="T51" fmla="*/ 2147483647 h 129"/>
                <a:gd name="T52" fmla="*/ 2147483647 w 121"/>
                <a:gd name="T53" fmla="*/ 2147483647 h 129"/>
                <a:gd name="T54" fmla="*/ 0 w 121"/>
                <a:gd name="T55" fmla="*/ 2147483647 h 12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1"/>
                <a:gd name="T85" fmla="*/ 0 h 129"/>
                <a:gd name="T86" fmla="*/ 121 w 121"/>
                <a:gd name="T87" fmla="*/ 129 h 12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1" h="129">
                  <a:moveTo>
                    <a:pt x="0" y="44"/>
                  </a:moveTo>
                  <a:lnTo>
                    <a:pt x="5" y="31"/>
                  </a:lnTo>
                  <a:lnTo>
                    <a:pt x="5" y="18"/>
                  </a:lnTo>
                  <a:lnTo>
                    <a:pt x="14" y="9"/>
                  </a:lnTo>
                  <a:lnTo>
                    <a:pt x="49" y="0"/>
                  </a:lnTo>
                  <a:lnTo>
                    <a:pt x="63" y="4"/>
                  </a:lnTo>
                  <a:lnTo>
                    <a:pt x="67" y="18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7" y="44"/>
                  </a:lnTo>
                  <a:lnTo>
                    <a:pt x="81" y="44"/>
                  </a:lnTo>
                  <a:lnTo>
                    <a:pt x="94" y="40"/>
                  </a:lnTo>
                  <a:lnTo>
                    <a:pt x="103" y="49"/>
                  </a:lnTo>
                  <a:lnTo>
                    <a:pt x="103" y="76"/>
                  </a:lnTo>
                  <a:lnTo>
                    <a:pt x="116" y="71"/>
                  </a:lnTo>
                  <a:lnTo>
                    <a:pt x="121" y="76"/>
                  </a:lnTo>
                  <a:lnTo>
                    <a:pt x="116" y="94"/>
                  </a:lnTo>
                  <a:lnTo>
                    <a:pt x="121" y="98"/>
                  </a:lnTo>
                  <a:lnTo>
                    <a:pt x="116" y="116"/>
                  </a:lnTo>
                  <a:lnTo>
                    <a:pt x="103" y="129"/>
                  </a:lnTo>
                  <a:lnTo>
                    <a:pt x="85" y="129"/>
                  </a:lnTo>
                  <a:lnTo>
                    <a:pt x="72" y="125"/>
                  </a:lnTo>
                  <a:lnTo>
                    <a:pt x="58" y="125"/>
                  </a:lnTo>
                  <a:lnTo>
                    <a:pt x="72" y="98"/>
                  </a:lnTo>
                  <a:lnTo>
                    <a:pt x="72" y="89"/>
                  </a:lnTo>
                  <a:lnTo>
                    <a:pt x="36" y="71"/>
                  </a:lnTo>
                  <a:lnTo>
                    <a:pt x="27" y="7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8" name="Freeform 292"/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2343150" y="4979988"/>
              <a:ext cx="246063" cy="325437"/>
            </a:xfrm>
            <a:custGeom>
              <a:avLst/>
              <a:gdLst>
                <a:gd name="T0" fmla="*/ 2147483647 w 179"/>
                <a:gd name="T1" fmla="*/ 2147483647 h 268"/>
                <a:gd name="T2" fmla="*/ 2147483647 w 179"/>
                <a:gd name="T3" fmla="*/ 2147483647 h 268"/>
                <a:gd name="T4" fmla="*/ 0 w 179"/>
                <a:gd name="T5" fmla="*/ 2147483647 h 268"/>
                <a:gd name="T6" fmla="*/ 0 w 179"/>
                <a:gd name="T7" fmla="*/ 2147483647 h 268"/>
                <a:gd name="T8" fmla="*/ 2147483647 w 179"/>
                <a:gd name="T9" fmla="*/ 2147483647 h 268"/>
                <a:gd name="T10" fmla="*/ 0 w 179"/>
                <a:gd name="T11" fmla="*/ 2147483647 h 268"/>
                <a:gd name="T12" fmla="*/ 2147483647 w 179"/>
                <a:gd name="T13" fmla="*/ 2147483647 h 268"/>
                <a:gd name="T14" fmla="*/ 2147483647 w 179"/>
                <a:gd name="T15" fmla="*/ 2147483647 h 268"/>
                <a:gd name="T16" fmla="*/ 2147483647 w 179"/>
                <a:gd name="T17" fmla="*/ 2147483647 h 268"/>
                <a:gd name="T18" fmla="*/ 2147483647 w 179"/>
                <a:gd name="T19" fmla="*/ 2147483647 h 268"/>
                <a:gd name="T20" fmla="*/ 2147483647 w 179"/>
                <a:gd name="T21" fmla="*/ 2147483647 h 268"/>
                <a:gd name="T22" fmla="*/ 2147483647 w 179"/>
                <a:gd name="T23" fmla="*/ 2147483647 h 268"/>
                <a:gd name="T24" fmla="*/ 2147483647 w 179"/>
                <a:gd name="T25" fmla="*/ 2147483647 h 268"/>
                <a:gd name="T26" fmla="*/ 2147483647 w 179"/>
                <a:gd name="T27" fmla="*/ 2147483647 h 268"/>
                <a:gd name="T28" fmla="*/ 2147483647 w 179"/>
                <a:gd name="T29" fmla="*/ 2147483647 h 268"/>
                <a:gd name="T30" fmla="*/ 2147483647 w 179"/>
                <a:gd name="T31" fmla="*/ 2147483647 h 268"/>
                <a:gd name="T32" fmla="*/ 2147483647 w 179"/>
                <a:gd name="T33" fmla="*/ 2147483647 h 268"/>
                <a:gd name="T34" fmla="*/ 2147483647 w 179"/>
                <a:gd name="T35" fmla="*/ 2147483647 h 268"/>
                <a:gd name="T36" fmla="*/ 2147483647 w 179"/>
                <a:gd name="T37" fmla="*/ 2147483647 h 268"/>
                <a:gd name="T38" fmla="*/ 2147483647 w 179"/>
                <a:gd name="T39" fmla="*/ 2147483647 h 268"/>
                <a:gd name="T40" fmla="*/ 2147483647 w 179"/>
                <a:gd name="T41" fmla="*/ 2147483647 h 268"/>
                <a:gd name="T42" fmla="*/ 2147483647 w 179"/>
                <a:gd name="T43" fmla="*/ 2147483647 h 268"/>
                <a:gd name="T44" fmla="*/ 2147483647 w 179"/>
                <a:gd name="T45" fmla="*/ 2147483647 h 268"/>
                <a:gd name="T46" fmla="*/ 2147483647 w 179"/>
                <a:gd name="T47" fmla="*/ 2147483647 h 268"/>
                <a:gd name="T48" fmla="*/ 2147483647 w 179"/>
                <a:gd name="T49" fmla="*/ 2147483647 h 268"/>
                <a:gd name="T50" fmla="*/ 2147483647 w 179"/>
                <a:gd name="T51" fmla="*/ 2147483647 h 268"/>
                <a:gd name="T52" fmla="*/ 2147483647 w 179"/>
                <a:gd name="T53" fmla="*/ 2147483647 h 268"/>
                <a:gd name="T54" fmla="*/ 2147483647 w 179"/>
                <a:gd name="T55" fmla="*/ 2147483647 h 268"/>
                <a:gd name="T56" fmla="*/ 2147483647 w 179"/>
                <a:gd name="T57" fmla="*/ 2147483647 h 268"/>
                <a:gd name="T58" fmla="*/ 2147483647 w 179"/>
                <a:gd name="T59" fmla="*/ 2147483647 h 268"/>
                <a:gd name="T60" fmla="*/ 2147483647 w 179"/>
                <a:gd name="T61" fmla="*/ 2147483647 h 268"/>
                <a:gd name="T62" fmla="*/ 2147483647 w 179"/>
                <a:gd name="T63" fmla="*/ 2147483647 h 268"/>
                <a:gd name="T64" fmla="*/ 2147483647 w 179"/>
                <a:gd name="T65" fmla="*/ 2147483647 h 268"/>
                <a:gd name="T66" fmla="*/ 2147483647 w 179"/>
                <a:gd name="T67" fmla="*/ 2147483647 h 268"/>
                <a:gd name="T68" fmla="*/ 2147483647 w 179"/>
                <a:gd name="T69" fmla="*/ 2147483647 h 268"/>
                <a:gd name="T70" fmla="*/ 2147483647 w 179"/>
                <a:gd name="T71" fmla="*/ 2147483647 h 268"/>
                <a:gd name="T72" fmla="*/ 2147483647 w 179"/>
                <a:gd name="T73" fmla="*/ 2147483647 h 268"/>
                <a:gd name="T74" fmla="*/ 2147483647 w 179"/>
                <a:gd name="T75" fmla="*/ 2147483647 h 268"/>
                <a:gd name="T76" fmla="*/ 2147483647 w 179"/>
                <a:gd name="T77" fmla="*/ 2147483647 h 268"/>
                <a:gd name="T78" fmla="*/ 2147483647 w 179"/>
                <a:gd name="T79" fmla="*/ 2147483647 h 268"/>
                <a:gd name="T80" fmla="*/ 2147483647 w 179"/>
                <a:gd name="T81" fmla="*/ 2147483647 h 268"/>
                <a:gd name="T82" fmla="*/ 2147483647 w 179"/>
                <a:gd name="T83" fmla="*/ 2147483647 h 268"/>
                <a:gd name="T84" fmla="*/ 2147483647 w 179"/>
                <a:gd name="T85" fmla="*/ 0 h 268"/>
                <a:gd name="T86" fmla="*/ 2147483647 w 179"/>
                <a:gd name="T87" fmla="*/ 2147483647 h 268"/>
                <a:gd name="T88" fmla="*/ 2147483647 w 179"/>
                <a:gd name="T89" fmla="*/ 2147483647 h 268"/>
                <a:gd name="T90" fmla="*/ 2147483647 w 179"/>
                <a:gd name="T91" fmla="*/ 2147483647 h 268"/>
                <a:gd name="T92" fmla="*/ 2147483647 w 179"/>
                <a:gd name="T93" fmla="*/ 2147483647 h 268"/>
                <a:gd name="T94" fmla="*/ 2147483647 w 179"/>
                <a:gd name="T95" fmla="*/ 2147483647 h 268"/>
                <a:gd name="T96" fmla="*/ 2147483647 w 179"/>
                <a:gd name="T97" fmla="*/ 2147483647 h 268"/>
                <a:gd name="T98" fmla="*/ 2147483647 w 179"/>
                <a:gd name="T99" fmla="*/ 2147483647 h 268"/>
                <a:gd name="T100" fmla="*/ 2147483647 w 179"/>
                <a:gd name="T101" fmla="*/ 2147483647 h 2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9"/>
                <a:gd name="T154" fmla="*/ 0 h 268"/>
                <a:gd name="T155" fmla="*/ 179 w 179"/>
                <a:gd name="T156" fmla="*/ 268 h 26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9" h="268">
                  <a:moveTo>
                    <a:pt x="14" y="49"/>
                  </a:moveTo>
                  <a:lnTo>
                    <a:pt x="9" y="49"/>
                  </a:lnTo>
                  <a:lnTo>
                    <a:pt x="0" y="58"/>
                  </a:lnTo>
                  <a:lnTo>
                    <a:pt x="0" y="71"/>
                  </a:lnTo>
                  <a:lnTo>
                    <a:pt x="5" y="80"/>
                  </a:lnTo>
                  <a:lnTo>
                    <a:pt x="0" y="85"/>
                  </a:lnTo>
                  <a:lnTo>
                    <a:pt x="18" y="98"/>
                  </a:lnTo>
                  <a:lnTo>
                    <a:pt x="31" y="116"/>
                  </a:lnTo>
                  <a:lnTo>
                    <a:pt x="49" y="156"/>
                  </a:lnTo>
                  <a:lnTo>
                    <a:pt x="58" y="174"/>
                  </a:lnTo>
                  <a:lnTo>
                    <a:pt x="72" y="196"/>
                  </a:lnTo>
                  <a:lnTo>
                    <a:pt x="72" y="201"/>
                  </a:lnTo>
                  <a:lnTo>
                    <a:pt x="94" y="228"/>
                  </a:lnTo>
                  <a:lnTo>
                    <a:pt x="98" y="223"/>
                  </a:lnTo>
                  <a:lnTo>
                    <a:pt x="139" y="250"/>
                  </a:lnTo>
                  <a:lnTo>
                    <a:pt x="156" y="268"/>
                  </a:lnTo>
                  <a:lnTo>
                    <a:pt x="170" y="259"/>
                  </a:lnTo>
                  <a:lnTo>
                    <a:pt x="170" y="250"/>
                  </a:lnTo>
                  <a:lnTo>
                    <a:pt x="174" y="237"/>
                  </a:lnTo>
                  <a:lnTo>
                    <a:pt x="170" y="232"/>
                  </a:lnTo>
                  <a:lnTo>
                    <a:pt x="174" y="210"/>
                  </a:lnTo>
                  <a:lnTo>
                    <a:pt x="174" y="187"/>
                  </a:lnTo>
                  <a:lnTo>
                    <a:pt x="179" y="178"/>
                  </a:lnTo>
                  <a:lnTo>
                    <a:pt x="170" y="161"/>
                  </a:lnTo>
                  <a:lnTo>
                    <a:pt x="152" y="161"/>
                  </a:lnTo>
                  <a:lnTo>
                    <a:pt x="152" y="134"/>
                  </a:lnTo>
                  <a:lnTo>
                    <a:pt x="130" y="147"/>
                  </a:lnTo>
                  <a:lnTo>
                    <a:pt x="125" y="138"/>
                  </a:lnTo>
                  <a:lnTo>
                    <a:pt x="112" y="138"/>
                  </a:lnTo>
                  <a:lnTo>
                    <a:pt x="112" y="125"/>
                  </a:lnTo>
                  <a:lnTo>
                    <a:pt x="103" y="107"/>
                  </a:lnTo>
                  <a:lnTo>
                    <a:pt x="116" y="89"/>
                  </a:lnTo>
                  <a:lnTo>
                    <a:pt x="121" y="76"/>
                  </a:lnTo>
                  <a:lnTo>
                    <a:pt x="130" y="67"/>
                  </a:lnTo>
                  <a:lnTo>
                    <a:pt x="148" y="62"/>
                  </a:lnTo>
                  <a:lnTo>
                    <a:pt x="161" y="62"/>
                  </a:lnTo>
                  <a:lnTo>
                    <a:pt x="156" y="58"/>
                  </a:lnTo>
                  <a:lnTo>
                    <a:pt x="148" y="53"/>
                  </a:lnTo>
                  <a:lnTo>
                    <a:pt x="161" y="31"/>
                  </a:lnTo>
                  <a:lnTo>
                    <a:pt x="134" y="22"/>
                  </a:lnTo>
                  <a:lnTo>
                    <a:pt x="121" y="27"/>
                  </a:lnTo>
                  <a:lnTo>
                    <a:pt x="98" y="4"/>
                  </a:lnTo>
                  <a:lnTo>
                    <a:pt x="85" y="0"/>
                  </a:lnTo>
                  <a:lnTo>
                    <a:pt x="85" y="9"/>
                  </a:lnTo>
                  <a:lnTo>
                    <a:pt x="63" y="35"/>
                  </a:lnTo>
                  <a:lnTo>
                    <a:pt x="40" y="44"/>
                  </a:lnTo>
                  <a:lnTo>
                    <a:pt x="36" y="67"/>
                  </a:lnTo>
                  <a:lnTo>
                    <a:pt x="14" y="67"/>
                  </a:lnTo>
                  <a:lnTo>
                    <a:pt x="9" y="58"/>
                  </a:lnTo>
                  <a:lnTo>
                    <a:pt x="14" y="53"/>
                  </a:lnTo>
                  <a:lnTo>
                    <a:pt x="14" y="4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39" name="Freeform 293"/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2625725" y="4637088"/>
              <a:ext cx="30163" cy="15875"/>
            </a:xfrm>
            <a:custGeom>
              <a:avLst/>
              <a:gdLst>
                <a:gd name="T0" fmla="*/ 0 w 22"/>
                <a:gd name="T1" fmla="*/ 2147483647 h 14"/>
                <a:gd name="T2" fmla="*/ 2147483647 w 22"/>
                <a:gd name="T3" fmla="*/ 2147483647 h 14"/>
                <a:gd name="T4" fmla="*/ 2147483647 w 22"/>
                <a:gd name="T5" fmla="*/ 2147483647 h 14"/>
                <a:gd name="T6" fmla="*/ 2147483647 w 22"/>
                <a:gd name="T7" fmla="*/ 2147483647 h 14"/>
                <a:gd name="T8" fmla="*/ 2147483647 w 22"/>
                <a:gd name="T9" fmla="*/ 0 h 14"/>
                <a:gd name="T10" fmla="*/ 2147483647 w 22"/>
                <a:gd name="T11" fmla="*/ 2147483647 h 14"/>
                <a:gd name="T12" fmla="*/ 0 w 22"/>
                <a:gd name="T13" fmla="*/ 0 h 14"/>
                <a:gd name="T14" fmla="*/ 0 w 22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4"/>
                <a:gd name="T26" fmla="*/ 22 w 22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4">
                  <a:moveTo>
                    <a:pt x="0" y="14"/>
                  </a:moveTo>
                  <a:lnTo>
                    <a:pt x="13" y="9"/>
                  </a:lnTo>
                  <a:lnTo>
                    <a:pt x="17" y="14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13" y="5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40" name="Freeform 294"/>
            <p:cNvSpPr>
              <a:spLocks/>
            </p:cNvSpPr>
            <p:nvPr>
              <p:custDataLst>
                <p:tags r:id="rId50"/>
              </p:custDataLst>
            </p:nvPr>
          </p:nvSpPr>
          <p:spPr bwMode="gray">
            <a:xfrm>
              <a:off x="2747963" y="4724400"/>
              <a:ext cx="1587" cy="11113"/>
            </a:xfrm>
            <a:custGeom>
              <a:avLst/>
              <a:gdLst>
                <a:gd name="T0" fmla="*/ 0 w 1587"/>
                <a:gd name="T1" fmla="*/ 0 h 9"/>
                <a:gd name="T2" fmla="*/ 0 w 1587"/>
                <a:gd name="T3" fmla="*/ 2147483647 h 9"/>
                <a:gd name="T4" fmla="*/ 0 w 1587"/>
                <a:gd name="T5" fmla="*/ 2147483647 h 9"/>
                <a:gd name="T6" fmla="*/ 0 w 1587"/>
                <a:gd name="T7" fmla="*/ 0 h 9"/>
                <a:gd name="T8" fmla="*/ 0 w 1587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9"/>
                <a:gd name="T17" fmla="*/ 1587 w 158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9">
                  <a:moveTo>
                    <a:pt x="0" y="0"/>
                  </a:moveTo>
                  <a:lnTo>
                    <a:pt x="0" y="9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41" name="Freeform 295"/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2740025" y="4735513"/>
              <a:ext cx="7938" cy="11112"/>
            </a:xfrm>
            <a:custGeom>
              <a:avLst/>
              <a:gdLst>
                <a:gd name="T0" fmla="*/ 2147483647 w 5"/>
                <a:gd name="T1" fmla="*/ 0 h 9"/>
                <a:gd name="T2" fmla="*/ 0 w 5"/>
                <a:gd name="T3" fmla="*/ 2147483647 h 9"/>
                <a:gd name="T4" fmla="*/ 2147483647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9"/>
                <a:gd name="T17" fmla="*/ 5 w 5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9">
                  <a:moveTo>
                    <a:pt x="5" y="0"/>
                  </a:moveTo>
                  <a:lnTo>
                    <a:pt x="0" y="4"/>
                  </a:lnTo>
                  <a:lnTo>
                    <a:pt x="5" y="9"/>
                  </a:lnTo>
                  <a:lnTo>
                    <a:pt x="5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42" name="Freeform 296"/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2797175" y="4865688"/>
              <a:ext cx="84138" cy="80962"/>
            </a:xfrm>
            <a:custGeom>
              <a:avLst/>
              <a:gdLst>
                <a:gd name="T0" fmla="*/ 2147483647 w 62"/>
                <a:gd name="T1" fmla="*/ 2147483647 h 67"/>
                <a:gd name="T2" fmla="*/ 2147483647 w 62"/>
                <a:gd name="T3" fmla="*/ 2147483647 h 67"/>
                <a:gd name="T4" fmla="*/ 2147483647 w 62"/>
                <a:gd name="T5" fmla="*/ 2147483647 h 67"/>
                <a:gd name="T6" fmla="*/ 2147483647 w 62"/>
                <a:gd name="T7" fmla="*/ 2147483647 h 67"/>
                <a:gd name="T8" fmla="*/ 0 w 62"/>
                <a:gd name="T9" fmla="*/ 2147483647 h 67"/>
                <a:gd name="T10" fmla="*/ 2147483647 w 62"/>
                <a:gd name="T11" fmla="*/ 2147483647 h 67"/>
                <a:gd name="T12" fmla="*/ 2147483647 w 62"/>
                <a:gd name="T13" fmla="*/ 2147483647 h 67"/>
                <a:gd name="T14" fmla="*/ 2147483647 w 62"/>
                <a:gd name="T15" fmla="*/ 2147483647 h 67"/>
                <a:gd name="T16" fmla="*/ 2147483647 w 62"/>
                <a:gd name="T17" fmla="*/ 0 h 67"/>
                <a:gd name="T18" fmla="*/ 2147483647 w 62"/>
                <a:gd name="T19" fmla="*/ 2147483647 h 67"/>
                <a:gd name="T20" fmla="*/ 2147483647 w 62"/>
                <a:gd name="T21" fmla="*/ 2147483647 h 67"/>
                <a:gd name="T22" fmla="*/ 2147483647 w 62"/>
                <a:gd name="T23" fmla="*/ 2147483647 h 67"/>
                <a:gd name="T24" fmla="*/ 2147483647 w 62"/>
                <a:gd name="T25" fmla="*/ 2147483647 h 67"/>
                <a:gd name="T26" fmla="*/ 2147483647 w 62"/>
                <a:gd name="T27" fmla="*/ 2147483647 h 67"/>
                <a:gd name="T28" fmla="*/ 2147483647 w 62"/>
                <a:gd name="T29" fmla="*/ 2147483647 h 67"/>
                <a:gd name="T30" fmla="*/ 2147483647 w 62"/>
                <a:gd name="T31" fmla="*/ 2147483647 h 67"/>
                <a:gd name="T32" fmla="*/ 2147483647 w 62"/>
                <a:gd name="T33" fmla="*/ 2147483647 h 67"/>
                <a:gd name="T34" fmla="*/ 2147483647 w 62"/>
                <a:gd name="T35" fmla="*/ 2147483647 h 6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2"/>
                <a:gd name="T55" fmla="*/ 0 h 67"/>
                <a:gd name="T56" fmla="*/ 62 w 62"/>
                <a:gd name="T57" fmla="*/ 67 h 6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2" h="67">
                  <a:moveTo>
                    <a:pt x="26" y="62"/>
                  </a:moveTo>
                  <a:lnTo>
                    <a:pt x="22" y="54"/>
                  </a:lnTo>
                  <a:lnTo>
                    <a:pt x="18" y="40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4" y="22"/>
                  </a:lnTo>
                  <a:lnTo>
                    <a:pt x="13" y="18"/>
                  </a:lnTo>
                  <a:lnTo>
                    <a:pt x="18" y="4"/>
                  </a:lnTo>
                  <a:lnTo>
                    <a:pt x="22" y="0"/>
                  </a:lnTo>
                  <a:lnTo>
                    <a:pt x="35" y="4"/>
                  </a:lnTo>
                  <a:lnTo>
                    <a:pt x="58" y="4"/>
                  </a:lnTo>
                  <a:lnTo>
                    <a:pt x="58" y="13"/>
                  </a:lnTo>
                  <a:lnTo>
                    <a:pt x="53" y="22"/>
                  </a:lnTo>
                  <a:lnTo>
                    <a:pt x="62" y="40"/>
                  </a:lnTo>
                  <a:lnTo>
                    <a:pt x="49" y="54"/>
                  </a:lnTo>
                  <a:lnTo>
                    <a:pt x="31" y="54"/>
                  </a:lnTo>
                  <a:lnTo>
                    <a:pt x="31" y="67"/>
                  </a:lnTo>
                  <a:lnTo>
                    <a:pt x="26" y="6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43" name="Freeform 297"/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gray">
            <a:xfrm>
              <a:off x="2728913" y="4772025"/>
              <a:ext cx="30162" cy="26988"/>
            </a:xfrm>
            <a:custGeom>
              <a:avLst/>
              <a:gdLst>
                <a:gd name="T0" fmla="*/ 2147483647 w 22"/>
                <a:gd name="T1" fmla="*/ 0 h 22"/>
                <a:gd name="T2" fmla="*/ 2147483647 w 22"/>
                <a:gd name="T3" fmla="*/ 2147483647 h 22"/>
                <a:gd name="T4" fmla="*/ 2147483647 w 22"/>
                <a:gd name="T5" fmla="*/ 0 h 22"/>
                <a:gd name="T6" fmla="*/ 2147483647 w 22"/>
                <a:gd name="T7" fmla="*/ 0 h 22"/>
                <a:gd name="T8" fmla="*/ 2147483647 w 22"/>
                <a:gd name="T9" fmla="*/ 0 h 22"/>
                <a:gd name="T10" fmla="*/ 2147483647 w 22"/>
                <a:gd name="T11" fmla="*/ 2147483647 h 22"/>
                <a:gd name="T12" fmla="*/ 2147483647 w 22"/>
                <a:gd name="T13" fmla="*/ 2147483647 h 22"/>
                <a:gd name="T14" fmla="*/ 0 w 22"/>
                <a:gd name="T15" fmla="*/ 2147483647 h 22"/>
                <a:gd name="T16" fmla="*/ 0 w 22"/>
                <a:gd name="T17" fmla="*/ 2147483647 h 22"/>
                <a:gd name="T18" fmla="*/ 2147483647 w 22"/>
                <a:gd name="T19" fmla="*/ 2147483647 h 22"/>
                <a:gd name="T20" fmla="*/ 2147483647 w 22"/>
                <a:gd name="T21" fmla="*/ 2147483647 h 22"/>
                <a:gd name="T22" fmla="*/ 2147483647 w 2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2"/>
                <a:gd name="T37" fmla="*/ 0 h 22"/>
                <a:gd name="T38" fmla="*/ 22 w 2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2" h="22">
                  <a:moveTo>
                    <a:pt x="13" y="0"/>
                  </a:moveTo>
                  <a:lnTo>
                    <a:pt x="13" y="4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3" y="0"/>
                  </a:lnTo>
                  <a:close/>
                  <a:moveTo>
                    <a:pt x="13" y="9"/>
                  </a:moveTo>
                  <a:lnTo>
                    <a:pt x="4" y="9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13" y="22"/>
                  </a:lnTo>
                  <a:lnTo>
                    <a:pt x="13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44" name="Freeform 298"/>
            <p:cNvSpPr>
              <a:spLocks noEditPoints="1"/>
            </p:cNvSpPr>
            <p:nvPr>
              <p:custDataLst>
                <p:tags r:id="rId54"/>
              </p:custDataLst>
            </p:nvPr>
          </p:nvSpPr>
          <p:spPr bwMode="gray">
            <a:xfrm>
              <a:off x="2660650" y="4641850"/>
              <a:ext cx="19050" cy="15875"/>
            </a:xfrm>
            <a:custGeom>
              <a:avLst/>
              <a:gdLst>
                <a:gd name="T0" fmla="*/ 2147483647 w 14"/>
                <a:gd name="T1" fmla="*/ 2147483647 h 13"/>
                <a:gd name="T2" fmla="*/ 2147483647 w 14"/>
                <a:gd name="T3" fmla="*/ 2147483647 h 13"/>
                <a:gd name="T4" fmla="*/ 2147483647 w 14"/>
                <a:gd name="T5" fmla="*/ 0 h 13"/>
                <a:gd name="T6" fmla="*/ 2147483647 w 14"/>
                <a:gd name="T7" fmla="*/ 0 h 13"/>
                <a:gd name="T8" fmla="*/ 2147483647 w 14"/>
                <a:gd name="T9" fmla="*/ 2147483647 h 13"/>
                <a:gd name="T10" fmla="*/ 2147483647 w 14"/>
                <a:gd name="T11" fmla="*/ 2147483647 h 13"/>
                <a:gd name="T12" fmla="*/ 2147483647 w 14"/>
                <a:gd name="T13" fmla="*/ 2147483647 h 13"/>
                <a:gd name="T14" fmla="*/ 0 w 14"/>
                <a:gd name="T15" fmla="*/ 2147483647 h 13"/>
                <a:gd name="T16" fmla="*/ 0 w 14"/>
                <a:gd name="T17" fmla="*/ 2147483647 h 13"/>
                <a:gd name="T18" fmla="*/ 2147483647 w 14"/>
                <a:gd name="T19" fmla="*/ 2147483647 h 13"/>
                <a:gd name="T20" fmla="*/ 2147483647 w 14"/>
                <a:gd name="T21" fmla="*/ 0 h 13"/>
                <a:gd name="T22" fmla="*/ 2147483647 w 14"/>
                <a:gd name="T23" fmla="*/ 0 h 13"/>
                <a:gd name="T24" fmla="*/ 2147483647 w 14"/>
                <a:gd name="T25" fmla="*/ 0 h 13"/>
                <a:gd name="T26" fmla="*/ 2147483647 w 14"/>
                <a:gd name="T27" fmla="*/ 0 h 13"/>
                <a:gd name="T28" fmla="*/ 2147483647 w 14"/>
                <a:gd name="T29" fmla="*/ 0 h 1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13"/>
                <a:gd name="T47" fmla="*/ 14 w 14"/>
                <a:gd name="T48" fmla="*/ 13 h 1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13">
                  <a:moveTo>
                    <a:pt x="5" y="4"/>
                  </a:moveTo>
                  <a:lnTo>
                    <a:pt x="9" y="4"/>
                  </a:lnTo>
                  <a:lnTo>
                    <a:pt x="5" y="0"/>
                  </a:lnTo>
                  <a:lnTo>
                    <a:pt x="5" y="4"/>
                  </a:lnTo>
                  <a:close/>
                  <a:moveTo>
                    <a:pt x="5" y="13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5" y="13"/>
                  </a:lnTo>
                  <a:close/>
                  <a:moveTo>
                    <a:pt x="9" y="0"/>
                  </a:moveTo>
                  <a:lnTo>
                    <a:pt x="9" y="0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45" name="Freeform 299"/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2797175" y="5540375"/>
              <a:ext cx="96838" cy="103188"/>
            </a:xfrm>
            <a:custGeom>
              <a:avLst/>
              <a:gdLst>
                <a:gd name="T0" fmla="*/ 0 w 71"/>
                <a:gd name="T1" fmla="*/ 2147483647 h 85"/>
                <a:gd name="T2" fmla="*/ 2147483647 w 71"/>
                <a:gd name="T3" fmla="*/ 2147483647 h 85"/>
                <a:gd name="T4" fmla="*/ 0 w 71"/>
                <a:gd name="T5" fmla="*/ 2147483647 h 85"/>
                <a:gd name="T6" fmla="*/ 2147483647 w 71"/>
                <a:gd name="T7" fmla="*/ 2147483647 h 85"/>
                <a:gd name="T8" fmla="*/ 2147483647 w 71"/>
                <a:gd name="T9" fmla="*/ 0 h 85"/>
                <a:gd name="T10" fmla="*/ 2147483647 w 71"/>
                <a:gd name="T11" fmla="*/ 0 h 85"/>
                <a:gd name="T12" fmla="*/ 2147483647 w 71"/>
                <a:gd name="T13" fmla="*/ 2147483647 h 85"/>
                <a:gd name="T14" fmla="*/ 2147483647 w 71"/>
                <a:gd name="T15" fmla="*/ 2147483647 h 85"/>
                <a:gd name="T16" fmla="*/ 2147483647 w 71"/>
                <a:gd name="T17" fmla="*/ 2147483647 h 85"/>
                <a:gd name="T18" fmla="*/ 2147483647 w 71"/>
                <a:gd name="T19" fmla="*/ 2147483647 h 85"/>
                <a:gd name="T20" fmla="*/ 2147483647 w 71"/>
                <a:gd name="T21" fmla="*/ 2147483647 h 85"/>
                <a:gd name="T22" fmla="*/ 2147483647 w 71"/>
                <a:gd name="T23" fmla="*/ 2147483647 h 85"/>
                <a:gd name="T24" fmla="*/ 2147483647 w 71"/>
                <a:gd name="T25" fmla="*/ 2147483647 h 85"/>
                <a:gd name="T26" fmla="*/ 2147483647 w 71"/>
                <a:gd name="T27" fmla="*/ 2147483647 h 85"/>
                <a:gd name="T28" fmla="*/ 2147483647 w 71"/>
                <a:gd name="T29" fmla="*/ 2147483647 h 85"/>
                <a:gd name="T30" fmla="*/ 2147483647 w 71"/>
                <a:gd name="T31" fmla="*/ 2147483647 h 85"/>
                <a:gd name="T32" fmla="*/ 2147483647 w 71"/>
                <a:gd name="T33" fmla="*/ 2147483647 h 85"/>
                <a:gd name="T34" fmla="*/ 0 w 71"/>
                <a:gd name="T35" fmla="*/ 2147483647 h 85"/>
                <a:gd name="T36" fmla="*/ 0 w 71"/>
                <a:gd name="T37" fmla="*/ 2147483647 h 8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1"/>
                <a:gd name="T58" fmla="*/ 0 h 85"/>
                <a:gd name="T59" fmla="*/ 71 w 71"/>
                <a:gd name="T60" fmla="*/ 85 h 8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1" h="85">
                  <a:moveTo>
                    <a:pt x="0" y="54"/>
                  </a:moveTo>
                  <a:lnTo>
                    <a:pt x="4" y="49"/>
                  </a:lnTo>
                  <a:lnTo>
                    <a:pt x="0" y="31"/>
                  </a:lnTo>
                  <a:lnTo>
                    <a:pt x="9" y="4"/>
                  </a:lnTo>
                  <a:lnTo>
                    <a:pt x="13" y="0"/>
                  </a:lnTo>
                  <a:lnTo>
                    <a:pt x="22" y="0"/>
                  </a:lnTo>
                  <a:lnTo>
                    <a:pt x="31" y="13"/>
                  </a:lnTo>
                  <a:lnTo>
                    <a:pt x="40" y="9"/>
                  </a:lnTo>
                  <a:lnTo>
                    <a:pt x="49" y="22"/>
                  </a:lnTo>
                  <a:lnTo>
                    <a:pt x="62" y="27"/>
                  </a:lnTo>
                  <a:lnTo>
                    <a:pt x="71" y="45"/>
                  </a:lnTo>
                  <a:lnTo>
                    <a:pt x="67" y="54"/>
                  </a:lnTo>
                  <a:lnTo>
                    <a:pt x="67" y="67"/>
                  </a:lnTo>
                  <a:lnTo>
                    <a:pt x="49" y="85"/>
                  </a:lnTo>
                  <a:lnTo>
                    <a:pt x="31" y="85"/>
                  </a:lnTo>
                  <a:lnTo>
                    <a:pt x="13" y="80"/>
                  </a:lnTo>
                  <a:lnTo>
                    <a:pt x="4" y="80"/>
                  </a:lnTo>
                  <a:lnTo>
                    <a:pt x="0" y="67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46" name="Freeform 300"/>
            <p:cNvSpPr>
              <a:spLocks/>
            </p:cNvSpPr>
            <p:nvPr>
              <p:custDataLst>
                <p:tags r:id="rId56"/>
              </p:custDataLst>
            </p:nvPr>
          </p:nvSpPr>
          <p:spPr bwMode="gray">
            <a:xfrm>
              <a:off x="2497138" y="4756150"/>
              <a:ext cx="268287" cy="201613"/>
            </a:xfrm>
            <a:custGeom>
              <a:avLst/>
              <a:gdLst>
                <a:gd name="T0" fmla="*/ 2147483647 w 196"/>
                <a:gd name="T1" fmla="*/ 2147483647 h 165"/>
                <a:gd name="T2" fmla="*/ 2147483647 w 196"/>
                <a:gd name="T3" fmla="*/ 2147483647 h 165"/>
                <a:gd name="T4" fmla="*/ 2147483647 w 196"/>
                <a:gd name="T5" fmla="*/ 2147483647 h 165"/>
                <a:gd name="T6" fmla="*/ 2147483647 w 196"/>
                <a:gd name="T7" fmla="*/ 2147483647 h 165"/>
                <a:gd name="T8" fmla="*/ 2147483647 w 196"/>
                <a:gd name="T9" fmla="*/ 2147483647 h 165"/>
                <a:gd name="T10" fmla="*/ 2147483647 w 196"/>
                <a:gd name="T11" fmla="*/ 2147483647 h 165"/>
                <a:gd name="T12" fmla="*/ 0 w 196"/>
                <a:gd name="T13" fmla="*/ 2147483647 h 165"/>
                <a:gd name="T14" fmla="*/ 2147483647 w 196"/>
                <a:gd name="T15" fmla="*/ 2147483647 h 165"/>
                <a:gd name="T16" fmla="*/ 2147483647 w 196"/>
                <a:gd name="T17" fmla="*/ 2147483647 h 165"/>
                <a:gd name="T18" fmla="*/ 2147483647 w 196"/>
                <a:gd name="T19" fmla="*/ 2147483647 h 165"/>
                <a:gd name="T20" fmla="*/ 2147483647 w 196"/>
                <a:gd name="T21" fmla="*/ 2147483647 h 165"/>
                <a:gd name="T22" fmla="*/ 2147483647 w 196"/>
                <a:gd name="T23" fmla="*/ 2147483647 h 165"/>
                <a:gd name="T24" fmla="*/ 2147483647 w 196"/>
                <a:gd name="T25" fmla="*/ 2147483647 h 165"/>
                <a:gd name="T26" fmla="*/ 2147483647 w 196"/>
                <a:gd name="T27" fmla="*/ 2147483647 h 165"/>
                <a:gd name="T28" fmla="*/ 2147483647 w 196"/>
                <a:gd name="T29" fmla="*/ 2147483647 h 165"/>
                <a:gd name="T30" fmla="*/ 2147483647 w 196"/>
                <a:gd name="T31" fmla="*/ 0 h 165"/>
                <a:gd name="T32" fmla="*/ 2147483647 w 196"/>
                <a:gd name="T33" fmla="*/ 2147483647 h 165"/>
                <a:gd name="T34" fmla="*/ 2147483647 w 196"/>
                <a:gd name="T35" fmla="*/ 2147483647 h 165"/>
                <a:gd name="T36" fmla="*/ 2147483647 w 196"/>
                <a:gd name="T37" fmla="*/ 2147483647 h 165"/>
                <a:gd name="T38" fmla="*/ 2147483647 w 196"/>
                <a:gd name="T39" fmla="*/ 2147483647 h 165"/>
                <a:gd name="T40" fmla="*/ 2147483647 w 196"/>
                <a:gd name="T41" fmla="*/ 2147483647 h 165"/>
                <a:gd name="T42" fmla="*/ 2147483647 w 196"/>
                <a:gd name="T43" fmla="*/ 2147483647 h 165"/>
                <a:gd name="T44" fmla="*/ 2147483647 w 196"/>
                <a:gd name="T45" fmla="*/ 2147483647 h 165"/>
                <a:gd name="T46" fmla="*/ 2147483647 w 196"/>
                <a:gd name="T47" fmla="*/ 2147483647 h 165"/>
                <a:gd name="T48" fmla="*/ 2147483647 w 196"/>
                <a:gd name="T49" fmla="*/ 2147483647 h 165"/>
                <a:gd name="T50" fmla="*/ 2147483647 w 196"/>
                <a:gd name="T51" fmla="*/ 2147483647 h 165"/>
                <a:gd name="T52" fmla="*/ 2147483647 w 196"/>
                <a:gd name="T53" fmla="*/ 2147483647 h 165"/>
                <a:gd name="T54" fmla="*/ 2147483647 w 196"/>
                <a:gd name="T55" fmla="*/ 2147483647 h 165"/>
                <a:gd name="T56" fmla="*/ 2147483647 w 196"/>
                <a:gd name="T57" fmla="*/ 2147483647 h 165"/>
                <a:gd name="T58" fmla="*/ 2147483647 w 196"/>
                <a:gd name="T59" fmla="*/ 2147483647 h 165"/>
                <a:gd name="T60" fmla="*/ 2147483647 w 196"/>
                <a:gd name="T61" fmla="*/ 2147483647 h 165"/>
                <a:gd name="T62" fmla="*/ 2147483647 w 196"/>
                <a:gd name="T63" fmla="*/ 2147483647 h 165"/>
                <a:gd name="T64" fmla="*/ 2147483647 w 196"/>
                <a:gd name="T65" fmla="*/ 2147483647 h 165"/>
                <a:gd name="T66" fmla="*/ 2147483647 w 196"/>
                <a:gd name="T67" fmla="*/ 2147483647 h 1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96"/>
                <a:gd name="T103" fmla="*/ 0 h 165"/>
                <a:gd name="T104" fmla="*/ 196 w 196"/>
                <a:gd name="T105" fmla="*/ 165 h 16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96" h="165">
                  <a:moveTo>
                    <a:pt x="94" y="160"/>
                  </a:moveTo>
                  <a:lnTo>
                    <a:pt x="89" y="138"/>
                  </a:lnTo>
                  <a:lnTo>
                    <a:pt x="76" y="143"/>
                  </a:lnTo>
                  <a:lnTo>
                    <a:pt x="85" y="129"/>
                  </a:lnTo>
                  <a:lnTo>
                    <a:pt x="80" y="125"/>
                  </a:lnTo>
                  <a:lnTo>
                    <a:pt x="80" y="107"/>
                  </a:lnTo>
                  <a:lnTo>
                    <a:pt x="85" y="84"/>
                  </a:lnTo>
                  <a:lnTo>
                    <a:pt x="58" y="89"/>
                  </a:lnTo>
                  <a:lnTo>
                    <a:pt x="49" y="75"/>
                  </a:lnTo>
                  <a:lnTo>
                    <a:pt x="22" y="80"/>
                  </a:lnTo>
                  <a:lnTo>
                    <a:pt x="9" y="67"/>
                  </a:lnTo>
                  <a:lnTo>
                    <a:pt x="13" y="58"/>
                  </a:lnTo>
                  <a:lnTo>
                    <a:pt x="4" y="49"/>
                  </a:lnTo>
                  <a:lnTo>
                    <a:pt x="0" y="49"/>
                  </a:lnTo>
                  <a:lnTo>
                    <a:pt x="4" y="44"/>
                  </a:lnTo>
                  <a:lnTo>
                    <a:pt x="4" y="26"/>
                  </a:lnTo>
                  <a:lnTo>
                    <a:pt x="13" y="13"/>
                  </a:lnTo>
                  <a:lnTo>
                    <a:pt x="22" y="4"/>
                  </a:lnTo>
                  <a:lnTo>
                    <a:pt x="31" y="4"/>
                  </a:lnTo>
                  <a:lnTo>
                    <a:pt x="18" y="13"/>
                  </a:lnTo>
                  <a:lnTo>
                    <a:pt x="22" y="22"/>
                  </a:lnTo>
                  <a:lnTo>
                    <a:pt x="13" y="35"/>
                  </a:lnTo>
                  <a:lnTo>
                    <a:pt x="22" y="49"/>
                  </a:lnTo>
                  <a:lnTo>
                    <a:pt x="31" y="44"/>
                  </a:lnTo>
                  <a:lnTo>
                    <a:pt x="31" y="35"/>
                  </a:lnTo>
                  <a:lnTo>
                    <a:pt x="22" y="26"/>
                  </a:lnTo>
                  <a:lnTo>
                    <a:pt x="27" y="22"/>
                  </a:lnTo>
                  <a:lnTo>
                    <a:pt x="49" y="17"/>
                  </a:lnTo>
                  <a:lnTo>
                    <a:pt x="49" y="8"/>
                  </a:lnTo>
                  <a:lnTo>
                    <a:pt x="44" y="13"/>
                  </a:lnTo>
                  <a:lnTo>
                    <a:pt x="44" y="4"/>
                  </a:lnTo>
                  <a:lnTo>
                    <a:pt x="49" y="0"/>
                  </a:lnTo>
                  <a:lnTo>
                    <a:pt x="53" y="13"/>
                  </a:lnTo>
                  <a:lnTo>
                    <a:pt x="62" y="13"/>
                  </a:lnTo>
                  <a:lnTo>
                    <a:pt x="71" y="17"/>
                  </a:lnTo>
                  <a:lnTo>
                    <a:pt x="71" y="26"/>
                  </a:lnTo>
                  <a:lnTo>
                    <a:pt x="103" y="26"/>
                  </a:lnTo>
                  <a:lnTo>
                    <a:pt x="120" y="35"/>
                  </a:lnTo>
                  <a:lnTo>
                    <a:pt x="134" y="26"/>
                  </a:lnTo>
                  <a:lnTo>
                    <a:pt x="129" y="17"/>
                  </a:lnTo>
                  <a:lnTo>
                    <a:pt x="143" y="13"/>
                  </a:lnTo>
                  <a:lnTo>
                    <a:pt x="143" y="17"/>
                  </a:lnTo>
                  <a:lnTo>
                    <a:pt x="138" y="22"/>
                  </a:lnTo>
                  <a:lnTo>
                    <a:pt x="170" y="26"/>
                  </a:lnTo>
                  <a:lnTo>
                    <a:pt x="152" y="31"/>
                  </a:lnTo>
                  <a:lnTo>
                    <a:pt x="161" y="40"/>
                  </a:lnTo>
                  <a:lnTo>
                    <a:pt x="178" y="40"/>
                  </a:lnTo>
                  <a:lnTo>
                    <a:pt x="183" y="44"/>
                  </a:lnTo>
                  <a:lnTo>
                    <a:pt x="183" y="53"/>
                  </a:lnTo>
                  <a:lnTo>
                    <a:pt x="192" y="53"/>
                  </a:lnTo>
                  <a:lnTo>
                    <a:pt x="196" y="67"/>
                  </a:lnTo>
                  <a:lnTo>
                    <a:pt x="183" y="71"/>
                  </a:lnTo>
                  <a:lnTo>
                    <a:pt x="187" y="80"/>
                  </a:lnTo>
                  <a:lnTo>
                    <a:pt x="178" y="84"/>
                  </a:lnTo>
                  <a:lnTo>
                    <a:pt x="174" y="93"/>
                  </a:lnTo>
                  <a:lnTo>
                    <a:pt x="183" y="102"/>
                  </a:lnTo>
                  <a:lnTo>
                    <a:pt x="183" y="116"/>
                  </a:lnTo>
                  <a:lnTo>
                    <a:pt x="152" y="120"/>
                  </a:lnTo>
                  <a:lnTo>
                    <a:pt x="138" y="120"/>
                  </a:lnTo>
                  <a:lnTo>
                    <a:pt x="125" y="111"/>
                  </a:lnTo>
                  <a:lnTo>
                    <a:pt x="120" y="120"/>
                  </a:lnTo>
                  <a:lnTo>
                    <a:pt x="125" y="125"/>
                  </a:lnTo>
                  <a:lnTo>
                    <a:pt x="129" y="143"/>
                  </a:lnTo>
                  <a:lnTo>
                    <a:pt x="143" y="147"/>
                  </a:lnTo>
                  <a:lnTo>
                    <a:pt x="134" y="147"/>
                  </a:lnTo>
                  <a:lnTo>
                    <a:pt x="125" y="156"/>
                  </a:lnTo>
                  <a:lnTo>
                    <a:pt x="103" y="165"/>
                  </a:lnTo>
                  <a:lnTo>
                    <a:pt x="94" y="16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</p:grpSp>
      <p:sp>
        <p:nvSpPr>
          <p:cNvPr id="148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93709" y="6436017"/>
            <a:ext cx="121119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895350">
              <a:tabLst>
                <a:tab pos="612775" algn="l"/>
              </a:tabLst>
            </a:pPr>
            <a:r>
              <a:rPr lang="en-AU" altLang="zh-TW" sz="800" dirty="0">
                <a:ea typeface="PMingLiU" charset="-120"/>
              </a:rPr>
              <a:t>Source: </a:t>
            </a:r>
            <a:r>
              <a:rPr lang="en-AU" altLang="zh-TW" sz="800" dirty="0" smtClean="0">
                <a:ea typeface="PMingLiU" charset="-120"/>
              </a:rPr>
              <a:t>WTO, 2011</a:t>
            </a:r>
            <a:endParaRPr lang="en-AU" altLang="zh-TW" sz="800" dirty="0">
              <a:ea typeface="PMingLiU" charset="-120"/>
            </a:endParaRPr>
          </a:p>
        </p:txBody>
      </p:sp>
      <p:sp>
        <p:nvSpPr>
          <p:cNvPr id="149" name="Rounded Rectangle 148"/>
          <p:cNvSpPr/>
          <p:nvPr>
            <p:custDataLst>
              <p:tags r:id="rId3"/>
            </p:custDataLst>
          </p:nvPr>
        </p:nvSpPr>
        <p:spPr>
          <a:xfrm>
            <a:off x="3922802" y="4442773"/>
            <a:ext cx="1847613" cy="433388"/>
          </a:xfrm>
          <a:prstGeom prst="roundRect">
            <a:avLst/>
          </a:prstGeom>
          <a:solidFill>
            <a:schemeClr val="bg1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AU" sz="1050" b="1" dirty="0" smtClean="0">
                <a:solidFill>
                  <a:srgbClr val="004165"/>
                </a:solidFill>
              </a:rPr>
              <a:t>Asia (11 Countries)</a:t>
            </a:r>
            <a:endParaRPr lang="en-AU" sz="1050" b="1" dirty="0">
              <a:solidFill>
                <a:srgbClr val="004165"/>
              </a:solidFill>
            </a:endParaRPr>
          </a:p>
        </p:txBody>
      </p:sp>
      <p:sp>
        <p:nvSpPr>
          <p:cNvPr id="151" name="Rounded Rectangle 150"/>
          <p:cNvSpPr/>
          <p:nvPr>
            <p:custDataLst>
              <p:tags r:id="rId4"/>
            </p:custDataLst>
          </p:nvPr>
        </p:nvSpPr>
        <p:spPr>
          <a:xfrm>
            <a:off x="4625974" y="5103808"/>
            <a:ext cx="2120303" cy="274638"/>
          </a:xfrm>
          <a:prstGeom prst="roundRect">
            <a:avLst/>
          </a:prstGeom>
          <a:solidFill>
            <a:schemeClr val="bg1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AU" sz="1050" b="1" dirty="0">
                <a:solidFill>
                  <a:srgbClr val="004165"/>
                </a:solidFill>
              </a:rPr>
              <a:t>Pacific </a:t>
            </a:r>
            <a:r>
              <a:rPr lang="en-AU" sz="1050" b="1" dirty="0" smtClean="0">
                <a:solidFill>
                  <a:srgbClr val="004165"/>
                </a:solidFill>
              </a:rPr>
              <a:t>(12 Countries)</a:t>
            </a:r>
            <a:endParaRPr lang="en-AU" sz="1050" b="1" dirty="0">
              <a:solidFill>
                <a:srgbClr val="004165"/>
              </a:solidFill>
            </a:endParaRPr>
          </a:p>
        </p:txBody>
      </p:sp>
      <p:grpSp>
        <p:nvGrpSpPr>
          <p:cNvPr id="3" name="Group 3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947738" y="4368796"/>
            <a:ext cx="1620837" cy="1382712"/>
            <a:chOff x="2334" y="2189"/>
            <a:chExt cx="1184" cy="1135"/>
          </a:xfrm>
        </p:grpSpPr>
        <p:sp>
          <p:nvSpPr>
            <p:cNvPr id="156" name="Freeform 36"/>
            <p:cNvSpPr>
              <a:spLocks/>
            </p:cNvSpPr>
            <p:nvPr/>
          </p:nvSpPr>
          <p:spPr bwMode="gray">
            <a:xfrm>
              <a:off x="2557" y="2194"/>
              <a:ext cx="300" cy="308"/>
            </a:xfrm>
            <a:custGeom>
              <a:avLst/>
              <a:gdLst>
                <a:gd name="T0" fmla="*/ 0 w 300"/>
                <a:gd name="T1" fmla="*/ 170 h 308"/>
                <a:gd name="T2" fmla="*/ 0 w 300"/>
                <a:gd name="T3" fmla="*/ 179 h 308"/>
                <a:gd name="T4" fmla="*/ 54 w 300"/>
                <a:gd name="T5" fmla="*/ 214 h 308"/>
                <a:gd name="T6" fmla="*/ 139 w 300"/>
                <a:gd name="T7" fmla="*/ 272 h 308"/>
                <a:gd name="T8" fmla="*/ 139 w 300"/>
                <a:gd name="T9" fmla="*/ 281 h 308"/>
                <a:gd name="T10" fmla="*/ 152 w 300"/>
                <a:gd name="T11" fmla="*/ 281 h 308"/>
                <a:gd name="T12" fmla="*/ 157 w 300"/>
                <a:gd name="T13" fmla="*/ 290 h 308"/>
                <a:gd name="T14" fmla="*/ 161 w 300"/>
                <a:gd name="T15" fmla="*/ 286 h 308"/>
                <a:gd name="T16" fmla="*/ 175 w 300"/>
                <a:gd name="T17" fmla="*/ 290 h 308"/>
                <a:gd name="T18" fmla="*/ 170 w 300"/>
                <a:gd name="T19" fmla="*/ 304 h 308"/>
                <a:gd name="T20" fmla="*/ 175 w 300"/>
                <a:gd name="T21" fmla="*/ 308 h 308"/>
                <a:gd name="T22" fmla="*/ 188 w 300"/>
                <a:gd name="T23" fmla="*/ 299 h 308"/>
                <a:gd name="T24" fmla="*/ 224 w 300"/>
                <a:gd name="T25" fmla="*/ 290 h 308"/>
                <a:gd name="T26" fmla="*/ 300 w 300"/>
                <a:gd name="T27" fmla="*/ 237 h 308"/>
                <a:gd name="T28" fmla="*/ 300 w 300"/>
                <a:gd name="T29" fmla="*/ 232 h 308"/>
                <a:gd name="T30" fmla="*/ 282 w 300"/>
                <a:gd name="T31" fmla="*/ 219 h 308"/>
                <a:gd name="T32" fmla="*/ 273 w 300"/>
                <a:gd name="T33" fmla="*/ 219 h 308"/>
                <a:gd name="T34" fmla="*/ 264 w 300"/>
                <a:gd name="T35" fmla="*/ 214 h 308"/>
                <a:gd name="T36" fmla="*/ 268 w 300"/>
                <a:gd name="T37" fmla="*/ 210 h 308"/>
                <a:gd name="T38" fmla="*/ 255 w 300"/>
                <a:gd name="T39" fmla="*/ 192 h 308"/>
                <a:gd name="T40" fmla="*/ 260 w 300"/>
                <a:gd name="T41" fmla="*/ 183 h 308"/>
                <a:gd name="T42" fmla="*/ 264 w 300"/>
                <a:gd name="T43" fmla="*/ 170 h 308"/>
                <a:gd name="T44" fmla="*/ 260 w 300"/>
                <a:gd name="T45" fmla="*/ 156 h 308"/>
                <a:gd name="T46" fmla="*/ 260 w 300"/>
                <a:gd name="T47" fmla="*/ 138 h 308"/>
                <a:gd name="T48" fmla="*/ 255 w 300"/>
                <a:gd name="T49" fmla="*/ 129 h 308"/>
                <a:gd name="T50" fmla="*/ 255 w 300"/>
                <a:gd name="T51" fmla="*/ 94 h 308"/>
                <a:gd name="T52" fmla="*/ 246 w 300"/>
                <a:gd name="T53" fmla="*/ 89 h 308"/>
                <a:gd name="T54" fmla="*/ 237 w 300"/>
                <a:gd name="T55" fmla="*/ 76 h 308"/>
                <a:gd name="T56" fmla="*/ 233 w 300"/>
                <a:gd name="T57" fmla="*/ 58 h 308"/>
                <a:gd name="T58" fmla="*/ 246 w 300"/>
                <a:gd name="T59" fmla="*/ 40 h 308"/>
                <a:gd name="T60" fmla="*/ 242 w 300"/>
                <a:gd name="T61" fmla="*/ 13 h 308"/>
                <a:gd name="T62" fmla="*/ 251 w 300"/>
                <a:gd name="T63" fmla="*/ 4 h 308"/>
                <a:gd name="T64" fmla="*/ 228 w 300"/>
                <a:gd name="T65" fmla="*/ 0 h 308"/>
                <a:gd name="T66" fmla="*/ 228 w 300"/>
                <a:gd name="T67" fmla="*/ 4 h 308"/>
                <a:gd name="T68" fmla="*/ 219 w 300"/>
                <a:gd name="T69" fmla="*/ 4 h 308"/>
                <a:gd name="T70" fmla="*/ 201 w 300"/>
                <a:gd name="T71" fmla="*/ 9 h 308"/>
                <a:gd name="T72" fmla="*/ 184 w 300"/>
                <a:gd name="T73" fmla="*/ 4 h 308"/>
                <a:gd name="T74" fmla="*/ 170 w 300"/>
                <a:gd name="T75" fmla="*/ 9 h 308"/>
                <a:gd name="T76" fmla="*/ 170 w 300"/>
                <a:gd name="T77" fmla="*/ 13 h 308"/>
                <a:gd name="T78" fmla="*/ 166 w 300"/>
                <a:gd name="T79" fmla="*/ 9 h 308"/>
                <a:gd name="T80" fmla="*/ 139 w 300"/>
                <a:gd name="T81" fmla="*/ 13 h 308"/>
                <a:gd name="T82" fmla="*/ 126 w 300"/>
                <a:gd name="T83" fmla="*/ 27 h 308"/>
                <a:gd name="T84" fmla="*/ 121 w 300"/>
                <a:gd name="T85" fmla="*/ 27 h 308"/>
                <a:gd name="T86" fmla="*/ 99 w 300"/>
                <a:gd name="T87" fmla="*/ 36 h 308"/>
                <a:gd name="T88" fmla="*/ 94 w 300"/>
                <a:gd name="T89" fmla="*/ 40 h 308"/>
                <a:gd name="T90" fmla="*/ 99 w 300"/>
                <a:gd name="T91" fmla="*/ 53 h 308"/>
                <a:gd name="T92" fmla="*/ 99 w 300"/>
                <a:gd name="T93" fmla="*/ 67 h 308"/>
                <a:gd name="T94" fmla="*/ 103 w 300"/>
                <a:gd name="T95" fmla="*/ 85 h 308"/>
                <a:gd name="T96" fmla="*/ 112 w 300"/>
                <a:gd name="T97" fmla="*/ 89 h 308"/>
                <a:gd name="T98" fmla="*/ 108 w 300"/>
                <a:gd name="T99" fmla="*/ 98 h 308"/>
                <a:gd name="T100" fmla="*/ 90 w 300"/>
                <a:gd name="T101" fmla="*/ 94 h 308"/>
                <a:gd name="T102" fmla="*/ 81 w 300"/>
                <a:gd name="T103" fmla="*/ 107 h 308"/>
                <a:gd name="T104" fmla="*/ 41 w 300"/>
                <a:gd name="T105" fmla="*/ 138 h 308"/>
                <a:gd name="T106" fmla="*/ 32 w 300"/>
                <a:gd name="T107" fmla="*/ 138 h 308"/>
                <a:gd name="T108" fmla="*/ 14 w 300"/>
                <a:gd name="T109" fmla="*/ 143 h 308"/>
                <a:gd name="T110" fmla="*/ 5 w 300"/>
                <a:gd name="T111" fmla="*/ 156 h 308"/>
                <a:gd name="T112" fmla="*/ 0 w 300"/>
                <a:gd name="T113" fmla="*/ 170 h 30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00"/>
                <a:gd name="T172" fmla="*/ 0 h 308"/>
                <a:gd name="T173" fmla="*/ 300 w 300"/>
                <a:gd name="T174" fmla="*/ 308 h 30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00" h="308">
                  <a:moveTo>
                    <a:pt x="0" y="170"/>
                  </a:moveTo>
                  <a:lnTo>
                    <a:pt x="0" y="179"/>
                  </a:lnTo>
                  <a:lnTo>
                    <a:pt x="54" y="214"/>
                  </a:lnTo>
                  <a:lnTo>
                    <a:pt x="139" y="272"/>
                  </a:lnTo>
                  <a:lnTo>
                    <a:pt x="139" y="281"/>
                  </a:lnTo>
                  <a:lnTo>
                    <a:pt x="152" y="281"/>
                  </a:lnTo>
                  <a:lnTo>
                    <a:pt x="157" y="290"/>
                  </a:lnTo>
                  <a:lnTo>
                    <a:pt x="161" y="286"/>
                  </a:lnTo>
                  <a:lnTo>
                    <a:pt x="175" y="290"/>
                  </a:lnTo>
                  <a:lnTo>
                    <a:pt x="170" y="304"/>
                  </a:lnTo>
                  <a:lnTo>
                    <a:pt x="175" y="308"/>
                  </a:lnTo>
                  <a:lnTo>
                    <a:pt x="188" y="299"/>
                  </a:lnTo>
                  <a:lnTo>
                    <a:pt x="224" y="290"/>
                  </a:lnTo>
                  <a:lnTo>
                    <a:pt x="300" y="237"/>
                  </a:lnTo>
                  <a:lnTo>
                    <a:pt x="300" y="232"/>
                  </a:lnTo>
                  <a:lnTo>
                    <a:pt x="282" y="219"/>
                  </a:lnTo>
                  <a:lnTo>
                    <a:pt x="273" y="219"/>
                  </a:lnTo>
                  <a:lnTo>
                    <a:pt x="264" y="214"/>
                  </a:lnTo>
                  <a:lnTo>
                    <a:pt x="268" y="210"/>
                  </a:lnTo>
                  <a:lnTo>
                    <a:pt x="255" y="192"/>
                  </a:lnTo>
                  <a:lnTo>
                    <a:pt x="260" y="183"/>
                  </a:lnTo>
                  <a:lnTo>
                    <a:pt x="264" y="170"/>
                  </a:lnTo>
                  <a:lnTo>
                    <a:pt x="260" y="156"/>
                  </a:lnTo>
                  <a:lnTo>
                    <a:pt x="260" y="138"/>
                  </a:lnTo>
                  <a:lnTo>
                    <a:pt x="255" y="129"/>
                  </a:lnTo>
                  <a:lnTo>
                    <a:pt x="255" y="94"/>
                  </a:lnTo>
                  <a:lnTo>
                    <a:pt x="246" y="89"/>
                  </a:lnTo>
                  <a:lnTo>
                    <a:pt x="237" y="76"/>
                  </a:lnTo>
                  <a:lnTo>
                    <a:pt x="233" y="58"/>
                  </a:lnTo>
                  <a:lnTo>
                    <a:pt x="246" y="40"/>
                  </a:lnTo>
                  <a:lnTo>
                    <a:pt x="242" y="13"/>
                  </a:lnTo>
                  <a:lnTo>
                    <a:pt x="251" y="4"/>
                  </a:lnTo>
                  <a:lnTo>
                    <a:pt x="228" y="0"/>
                  </a:lnTo>
                  <a:lnTo>
                    <a:pt x="228" y="4"/>
                  </a:lnTo>
                  <a:lnTo>
                    <a:pt x="219" y="4"/>
                  </a:lnTo>
                  <a:lnTo>
                    <a:pt x="201" y="9"/>
                  </a:lnTo>
                  <a:lnTo>
                    <a:pt x="184" y="4"/>
                  </a:lnTo>
                  <a:lnTo>
                    <a:pt x="170" y="9"/>
                  </a:lnTo>
                  <a:lnTo>
                    <a:pt x="170" y="13"/>
                  </a:lnTo>
                  <a:lnTo>
                    <a:pt x="166" y="9"/>
                  </a:lnTo>
                  <a:lnTo>
                    <a:pt x="139" y="13"/>
                  </a:lnTo>
                  <a:lnTo>
                    <a:pt x="126" y="27"/>
                  </a:lnTo>
                  <a:lnTo>
                    <a:pt x="121" y="27"/>
                  </a:lnTo>
                  <a:lnTo>
                    <a:pt x="99" y="36"/>
                  </a:lnTo>
                  <a:lnTo>
                    <a:pt x="94" y="40"/>
                  </a:lnTo>
                  <a:lnTo>
                    <a:pt x="99" y="53"/>
                  </a:lnTo>
                  <a:lnTo>
                    <a:pt x="99" y="67"/>
                  </a:lnTo>
                  <a:lnTo>
                    <a:pt x="103" y="85"/>
                  </a:lnTo>
                  <a:lnTo>
                    <a:pt x="112" y="89"/>
                  </a:lnTo>
                  <a:lnTo>
                    <a:pt x="108" y="98"/>
                  </a:lnTo>
                  <a:lnTo>
                    <a:pt x="90" y="94"/>
                  </a:lnTo>
                  <a:lnTo>
                    <a:pt x="81" y="107"/>
                  </a:lnTo>
                  <a:lnTo>
                    <a:pt x="41" y="138"/>
                  </a:lnTo>
                  <a:lnTo>
                    <a:pt x="32" y="138"/>
                  </a:lnTo>
                  <a:lnTo>
                    <a:pt x="14" y="143"/>
                  </a:lnTo>
                  <a:lnTo>
                    <a:pt x="5" y="156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57" name="Freeform 37"/>
            <p:cNvSpPr>
              <a:spLocks/>
            </p:cNvSpPr>
            <p:nvPr/>
          </p:nvSpPr>
          <p:spPr bwMode="gray">
            <a:xfrm>
              <a:off x="2848" y="2846"/>
              <a:ext cx="178" cy="201"/>
            </a:xfrm>
            <a:custGeom>
              <a:avLst/>
              <a:gdLst>
                <a:gd name="T0" fmla="*/ 4 w 178"/>
                <a:gd name="T1" fmla="*/ 188 h 201"/>
                <a:gd name="T2" fmla="*/ 9 w 178"/>
                <a:gd name="T3" fmla="*/ 184 h 201"/>
                <a:gd name="T4" fmla="*/ 27 w 178"/>
                <a:gd name="T5" fmla="*/ 184 h 201"/>
                <a:gd name="T6" fmla="*/ 40 w 178"/>
                <a:gd name="T7" fmla="*/ 192 h 201"/>
                <a:gd name="T8" fmla="*/ 49 w 178"/>
                <a:gd name="T9" fmla="*/ 188 h 201"/>
                <a:gd name="T10" fmla="*/ 103 w 178"/>
                <a:gd name="T11" fmla="*/ 188 h 201"/>
                <a:gd name="T12" fmla="*/ 116 w 178"/>
                <a:gd name="T13" fmla="*/ 201 h 201"/>
                <a:gd name="T14" fmla="*/ 134 w 178"/>
                <a:gd name="T15" fmla="*/ 201 h 201"/>
                <a:gd name="T16" fmla="*/ 170 w 178"/>
                <a:gd name="T17" fmla="*/ 192 h 201"/>
                <a:gd name="T18" fmla="*/ 147 w 178"/>
                <a:gd name="T19" fmla="*/ 170 h 201"/>
                <a:gd name="T20" fmla="*/ 152 w 178"/>
                <a:gd name="T21" fmla="*/ 125 h 201"/>
                <a:gd name="T22" fmla="*/ 174 w 178"/>
                <a:gd name="T23" fmla="*/ 121 h 201"/>
                <a:gd name="T24" fmla="*/ 178 w 178"/>
                <a:gd name="T25" fmla="*/ 112 h 201"/>
                <a:gd name="T26" fmla="*/ 178 w 178"/>
                <a:gd name="T27" fmla="*/ 90 h 201"/>
                <a:gd name="T28" fmla="*/ 152 w 178"/>
                <a:gd name="T29" fmla="*/ 94 h 201"/>
                <a:gd name="T30" fmla="*/ 143 w 178"/>
                <a:gd name="T31" fmla="*/ 41 h 201"/>
                <a:gd name="T32" fmla="*/ 134 w 178"/>
                <a:gd name="T33" fmla="*/ 41 h 201"/>
                <a:gd name="T34" fmla="*/ 129 w 178"/>
                <a:gd name="T35" fmla="*/ 36 h 201"/>
                <a:gd name="T36" fmla="*/ 116 w 178"/>
                <a:gd name="T37" fmla="*/ 36 h 201"/>
                <a:gd name="T38" fmla="*/ 111 w 178"/>
                <a:gd name="T39" fmla="*/ 54 h 201"/>
                <a:gd name="T40" fmla="*/ 89 w 178"/>
                <a:gd name="T41" fmla="*/ 54 h 201"/>
                <a:gd name="T42" fmla="*/ 80 w 178"/>
                <a:gd name="T43" fmla="*/ 41 h 201"/>
                <a:gd name="T44" fmla="*/ 80 w 178"/>
                <a:gd name="T45" fmla="*/ 36 h 201"/>
                <a:gd name="T46" fmla="*/ 76 w 178"/>
                <a:gd name="T47" fmla="*/ 23 h 201"/>
                <a:gd name="T48" fmla="*/ 22 w 178"/>
                <a:gd name="T49" fmla="*/ 23 h 201"/>
                <a:gd name="T50" fmla="*/ 9 w 178"/>
                <a:gd name="T51" fmla="*/ 18 h 201"/>
                <a:gd name="T52" fmla="*/ 9 w 178"/>
                <a:gd name="T53" fmla="*/ 18 h 201"/>
                <a:gd name="T54" fmla="*/ 18 w 178"/>
                <a:gd name="T55" fmla="*/ 0 h 201"/>
                <a:gd name="T56" fmla="*/ 13 w 178"/>
                <a:gd name="T57" fmla="*/ 0 h 201"/>
                <a:gd name="T58" fmla="*/ 4 w 178"/>
                <a:gd name="T59" fmla="*/ 9 h 201"/>
                <a:gd name="T60" fmla="*/ 4 w 178"/>
                <a:gd name="T61" fmla="*/ 14 h 201"/>
                <a:gd name="T62" fmla="*/ 27 w 178"/>
                <a:gd name="T63" fmla="*/ 54 h 201"/>
                <a:gd name="T64" fmla="*/ 27 w 178"/>
                <a:gd name="T65" fmla="*/ 63 h 201"/>
                <a:gd name="T66" fmla="*/ 22 w 178"/>
                <a:gd name="T67" fmla="*/ 63 h 201"/>
                <a:gd name="T68" fmla="*/ 18 w 178"/>
                <a:gd name="T69" fmla="*/ 67 h 201"/>
                <a:gd name="T70" fmla="*/ 31 w 178"/>
                <a:gd name="T71" fmla="*/ 90 h 201"/>
                <a:gd name="T72" fmla="*/ 36 w 178"/>
                <a:gd name="T73" fmla="*/ 103 h 201"/>
                <a:gd name="T74" fmla="*/ 27 w 178"/>
                <a:gd name="T75" fmla="*/ 112 h 201"/>
                <a:gd name="T76" fmla="*/ 22 w 178"/>
                <a:gd name="T77" fmla="*/ 116 h 201"/>
                <a:gd name="T78" fmla="*/ 13 w 178"/>
                <a:gd name="T79" fmla="*/ 130 h 201"/>
                <a:gd name="T80" fmla="*/ 4 w 178"/>
                <a:gd name="T81" fmla="*/ 148 h 201"/>
                <a:gd name="T82" fmla="*/ 0 w 178"/>
                <a:gd name="T83" fmla="*/ 161 h 201"/>
                <a:gd name="T84" fmla="*/ 4 w 178"/>
                <a:gd name="T85" fmla="*/ 179 h 201"/>
                <a:gd name="T86" fmla="*/ 0 w 178"/>
                <a:gd name="T87" fmla="*/ 179 h 201"/>
                <a:gd name="T88" fmla="*/ 4 w 178"/>
                <a:gd name="T89" fmla="*/ 188 h 20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78"/>
                <a:gd name="T136" fmla="*/ 0 h 201"/>
                <a:gd name="T137" fmla="*/ 178 w 178"/>
                <a:gd name="T138" fmla="*/ 201 h 20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78" h="201">
                  <a:moveTo>
                    <a:pt x="4" y="188"/>
                  </a:moveTo>
                  <a:lnTo>
                    <a:pt x="9" y="184"/>
                  </a:lnTo>
                  <a:lnTo>
                    <a:pt x="27" y="184"/>
                  </a:lnTo>
                  <a:lnTo>
                    <a:pt x="40" y="192"/>
                  </a:lnTo>
                  <a:lnTo>
                    <a:pt x="49" y="188"/>
                  </a:lnTo>
                  <a:lnTo>
                    <a:pt x="103" y="188"/>
                  </a:lnTo>
                  <a:lnTo>
                    <a:pt x="116" y="201"/>
                  </a:lnTo>
                  <a:lnTo>
                    <a:pt x="134" y="201"/>
                  </a:lnTo>
                  <a:lnTo>
                    <a:pt x="170" y="192"/>
                  </a:lnTo>
                  <a:lnTo>
                    <a:pt x="147" y="170"/>
                  </a:lnTo>
                  <a:lnTo>
                    <a:pt x="152" y="125"/>
                  </a:lnTo>
                  <a:lnTo>
                    <a:pt x="174" y="121"/>
                  </a:lnTo>
                  <a:lnTo>
                    <a:pt x="178" y="112"/>
                  </a:lnTo>
                  <a:lnTo>
                    <a:pt x="178" y="90"/>
                  </a:lnTo>
                  <a:lnTo>
                    <a:pt x="152" y="94"/>
                  </a:lnTo>
                  <a:lnTo>
                    <a:pt x="143" y="41"/>
                  </a:lnTo>
                  <a:lnTo>
                    <a:pt x="134" y="41"/>
                  </a:lnTo>
                  <a:lnTo>
                    <a:pt x="129" y="36"/>
                  </a:lnTo>
                  <a:lnTo>
                    <a:pt x="116" y="36"/>
                  </a:lnTo>
                  <a:lnTo>
                    <a:pt x="111" y="54"/>
                  </a:lnTo>
                  <a:lnTo>
                    <a:pt x="89" y="54"/>
                  </a:lnTo>
                  <a:lnTo>
                    <a:pt x="80" y="41"/>
                  </a:lnTo>
                  <a:lnTo>
                    <a:pt x="80" y="36"/>
                  </a:lnTo>
                  <a:lnTo>
                    <a:pt x="76" y="23"/>
                  </a:lnTo>
                  <a:lnTo>
                    <a:pt x="22" y="23"/>
                  </a:lnTo>
                  <a:lnTo>
                    <a:pt x="9" y="18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4" y="9"/>
                  </a:lnTo>
                  <a:lnTo>
                    <a:pt x="4" y="14"/>
                  </a:lnTo>
                  <a:lnTo>
                    <a:pt x="27" y="54"/>
                  </a:lnTo>
                  <a:lnTo>
                    <a:pt x="27" y="63"/>
                  </a:lnTo>
                  <a:lnTo>
                    <a:pt x="22" y="63"/>
                  </a:lnTo>
                  <a:lnTo>
                    <a:pt x="18" y="67"/>
                  </a:lnTo>
                  <a:lnTo>
                    <a:pt x="31" y="90"/>
                  </a:lnTo>
                  <a:lnTo>
                    <a:pt x="36" y="103"/>
                  </a:lnTo>
                  <a:lnTo>
                    <a:pt x="27" y="112"/>
                  </a:lnTo>
                  <a:lnTo>
                    <a:pt x="22" y="116"/>
                  </a:lnTo>
                  <a:lnTo>
                    <a:pt x="13" y="130"/>
                  </a:lnTo>
                  <a:lnTo>
                    <a:pt x="4" y="148"/>
                  </a:lnTo>
                  <a:lnTo>
                    <a:pt x="0" y="161"/>
                  </a:lnTo>
                  <a:lnTo>
                    <a:pt x="4" y="179"/>
                  </a:lnTo>
                  <a:lnTo>
                    <a:pt x="0" y="179"/>
                  </a:lnTo>
                  <a:lnTo>
                    <a:pt x="4" y="188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58" name="Freeform 38"/>
            <p:cNvSpPr>
              <a:spLocks/>
            </p:cNvSpPr>
            <p:nvPr/>
          </p:nvSpPr>
          <p:spPr bwMode="gray">
            <a:xfrm>
              <a:off x="2968" y="3043"/>
              <a:ext cx="139" cy="147"/>
            </a:xfrm>
            <a:custGeom>
              <a:avLst/>
              <a:gdLst>
                <a:gd name="T0" fmla="*/ 0 w 139"/>
                <a:gd name="T1" fmla="*/ 112 h 147"/>
                <a:gd name="T2" fmla="*/ 9 w 139"/>
                <a:gd name="T3" fmla="*/ 130 h 147"/>
                <a:gd name="T4" fmla="*/ 9 w 139"/>
                <a:gd name="T5" fmla="*/ 138 h 147"/>
                <a:gd name="T6" fmla="*/ 9 w 139"/>
                <a:gd name="T7" fmla="*/ 147 h 147"/>
                <a:gd name="T8" fmla="*/ 32 w 139"/>
                <a:gd name="T9" fmla="*/ 143 h 147"/>
                <a:gd name="T10" fmla="*/ 45 w 139"/>
                <a:gd name="T11" fmla="*/ 121 h 147"/>
                <a:gd name="T12" fmla="*/ 50 w 139"/>
                <a:gd name="T13" fmla="*/ 121 h 147"/>
                <a:gd name="T14" fmla="*/ 54 w 139"/>
                <a:gd name="T15" fmla="*/ 125 h 147"/>
                <a:gd name="T16" fmla="*/ 58 w 139"/>
                <a:gd name="T17" fmla="*/ 130 h 147"/>
                <a:gd name="T18" fmla="*/ 81 w 139"/>
                <a:gd name="T19" fmla="*/ 125 h 147"/>
                <a:gd name="T20" fmla="*/ 85 w 139"/>
                <a:gd name="T21" fmla="*/ 112 h 147"/>
                <a:gd name="T22" fmla="*/ 99 w 139"/>
                <a:gd name="T23" fmla="*/ 103 h 147"/>
                <a:gd name="T24" fmla="*/ 99 w 139"/>
                <a:gd name="T25" fmla="*/ 98 h 147"/>
                <a:gd name="T26" fmla="*/ 121 w 139"/>
                <a:gd name="T27" fmla="*/ 76 h 147"/>
                <a:gd name="T28" fmla="*/ 134 w 139"/>
                <a:gd name="T29" fmla="*/ 71 h 147"/>
                <a:gd name="T30" fmla="*/ 139 w 139"/>
                <a:gd name="T31" fmla="*/ 67 h 147"/>
                <a:gd name="T32" fmla="*/ 139 w 139"/>
                <a:gd name="T33" fmla="*/ 62 h 147"/>
                <a:gd name="T34" fmla="*/ 125 w 139"/>
                <a:gd name="T35" fmla="*/ 62 h 147"/>
                <a:gd name="T36" fmla="*/ 112 w 139"/>
                <a:gd name="T37" fmla="*/ 45 h 147"/>
                <a:gd name="T38" fmla="*/ 85 w 139"/>
                <a:gd name="T39" fmla="*/ 22 h 147"/>
                <a:gd name="T40" fmla="*/ 72 w 139"/>
                <a:gd name="T41" fmla="*/ 0 h 147"/>
                <a:gd name="T42" fmla="*/ 58 w 139"/>
                <a:gd name="T43" fmla="*/ 4 h 147"/>
                <a:gd name="T44" fmla="*/ 54 w 139"/>
                <a:gd name="T45" fmla="*/ 13 h 147"/>
                <a:gd name="T46" fmla="*/ 45 w 139"/>
                <a:gd name="T47" fmla="*/ 4 h 147"/>
                <a:gd name="T48" fmla="*/ 27 w 139"/>
                <a:gd name="T49" fmla="*/ 9 h 147"/>
                <a:gd name="T50" fmla="*/ 18 w 139"/>
                <a:gd name="T51" fmla="*/ 9 h 147"/>
                <a:gd name="T52" fmla="*/ 18 w 139"/>
                <a:gd name="T53" fmla="*/ 67 h 147"/>
                <a:gd name="T54" fmla="*/ 5 w 139"/>
                <a:gd name="T55" fmla="*/ 67 h 147"/>
                <a:gd name="T56" fmla="*/ 0 w 139"/>
                <a:gd name="T57" fmla="*/ 112 h 14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9"/>
                <a:gd name="T88" fmla="*/ 0 h 147"/>
                <a:gd name="T89" fmla="*/ 139 w 139"/>
                <a:gd name="T90" fmla="*/ 147 h 14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9" h="147">
                  <a:moveTo>
                    <a:pt x="0" y="112"/>
                  </a:moveTo>
                  <a:lnTo>
                    <a:pt x="9" y="130"/>
                  </a:lnTo>
                  <a:lnTo>
                    <a:pt x="9" y="138"/>
                  </a:lnTo>
                  <a:lnTo>
                    <a:pt x="9" y="147"/>
                  </a:lnTo>
                  <a:lnTo>
                    <a:pt x="32" y="143"/>
                  </a:lnTo>
                  <a:lnTo>
                    <a:pt x="45" y="121"/>
                  </a:lnTo>
                  <a:lnTo>
                    <a:pt x="50" y="121"/>
                  </a:lnTo>
                  <a:lnTo>
                    <a:pt x="54" y="125"/>
                  </a:lnTo>
                  <a:lnTo>
                    <a:pt x="58" y="130"/>
                  </a:lnTo>
                  <a:lnTo>
                    <a:pt x="81" y="125"/>
                  </a:lnTo>
                  <a:lnTo>
                    <a:pt x="85" y="112"/>
                  </a:lnTo>
                  <a:lnTo>
                    <a:pt x="99" y="103"/>
                  </a:lnTo>
                  <a:lnTo>
                    <a:pt x="99" y="98"/>
                  </a:lnTo>
                  <a:lnTo>
                    <a:pt x="121" y="76"/>
                  </a:lnTo>
                  <a:lnTo>
                    <a:pt x="134" y="71"/>
                  </a:lnTo>
                  <a:lnTo>
                    <a:pt x="139" y="67"/>
                  </a:lnTo>
                  <a:lnTo>
                    <a:pt x="139" y="62"/>
                  </a:lnTo>
                  <a:lnTo>
                    <a:pt x="125" y="62"/>
                  </a:lnTo>
                  <a:lnTo>
                    <a:pt x="112" y="45"/>
                  </a:lnTo>
                  <a:lnTo>
                    <a:pt x="85" y="22"/>
                  </a:lnTo>
                  <a:lnTo>
                    <a:pt x="72" y="0"/>
                  </a:lnTo>
                  <a:lnTo>
                    <a:pt x="58" y="4"/>
                  </a:lnTo>
                  <a:lnTo>
                    <a:pt x="54" y="13"/>
                  </a:lnTo>
                  <a:lnTo>
                    <a:pt x="45" y="4"/>
                  </a:lnTo>
                  <a:lnTo>
                    <a:pt x="27" y="9"/>
                  </a:lnTo>
                  <a:lnTo>
                    <a:pt x="18" y="9"/>
                  </a:lnTo>
                  <a:lnTo>
                    <a:pt x="18" y="67"/>
                  </a:lnTo>
                  <a:lnTo>
                    <a:pt x="5" y="67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59" name="Freeform 39"/>
            <p:cNvSpPr>
              <a:spLocks/>
            </p:cNvSpPr>
            <p:nvPr/>
          </p:nvSpPr>
          <p:spPr bwMode="gray">
            <a:xfrm>
              <a:off x="3102" y="2815"/>
              <a:ext cx="27" cy="31"/>
            </a:xfrm>
            <a:custGeom>
              <a:avLst/>
              <a:gdLst>
                <a:gd name="T0" fmla="*/ 0 w 27"/>
                <a:gd name="T1" fmla="*/ 4 h 31"/>
                <a:gd name="T2" fmla="*/ 5 w 27"/>
                <a:gd name="T3" fmla="*/ 18 h 31"/>
                <a:gd name="T4" fmla="*/ 5 w 27"/>
                <a:gd name="T5" fmla="*/ 31 h 31"/>
                <a:gd name="T6" fmla="*/ 9 w 27"/>
                <a:gd name="T7" fmla="*/ 31 h 31"/>
                <a:gd name="T8" fmla="*/ 27 w 27"/>
                <a:gd name="T9" fmla="*/ 18 h 31"/>
                <a:gd name="T10" fmla="*/ 27 w 27"/>
                <a:gd name="T11" fmla="*/ 9 h 31"/>
                <a:gd name="T12" fmla="*/ 23 w 27"/>
                <a:gd name="T13" fmla="*/ 9 h 31"/>
                <a:gd name="T14" fmla="*/ 23 w 27"/>
                <a:gd name="T15" fmla="*/ 0 h 31"/>
                <a:gd name="T16" fmla="*/ 14 w 27"/>
                <a:gd name="T17" fmla="*/ 0 h 31"/>
                <a:gd name="T18" fmla="*/ 9 w 27"/>
                <a:gd name="T19" fmla="*/ 4 h 31"/>
                <a:gd name="T20" fmla="*/ 0 w 27"/>
                <a:gd name="T21" fmla="*/ 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31"/>
                <a:gd name="T35" fmla="*/ 27 w 27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31">
                  <a:moveTo>
                    <a:pt x="0" y="4"/>
                  </a:moveTo>
                  <a:lnTo>
                    <a:pt x="5" y="18"/>
                  </a:lnTo>
                  <a:lnTo>
                    <a:pt x="5" y="31"/>
                  </a:lnTo>
                  <a:lnTo>
                    <a:pt x="9" y="31"/>
                  </a:lnTo>
                  <a:lnTo>
                    <a:pt x="27" y="18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3" y="0"/>
                  </a:lnTo>
                  <a:lnTo>
                    <a:pt x="14" y="0"/>
                  </a:lnTo>
                  <a:lnTo>
                    <a:pt x="9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0" name="Freeform 40"/>
            <p:cNvSpPr>
              <a:spLocks/>
            </p:cNvSpPr>
            <p:nvPr/>
          </p:nvSpPr>
          <p:spPr bwMode="gray">
            <a:xfrm>
              <a:off x="2812" y="2592"/>
              <a:ext cx="103" cy="160"/>
            </a:xfrm>
            <a:custGeom>
              <a:avLst/>
              <a:gdLst>
                <a:gd name="T0" fmla="*/ 0 w 103"/>
                <a:gd name="T1" fmla="*/ 116 h 160"/>
                <a:gd name="T2" fmla="*/ 0 w 103"/>
                <a:gd name="T3" fmla="*/ 125 h 160"/>
                <a:gd name="T4" fmla="*/ 5 w 103"/>
                <a:gd name="T5" fmla="*/ 129 h 160"/>
                <a:gd name="T6" fmla="*/ 13 w 103"/>
                <a:gd name="T7" fmla="*/ 129 h 160"/>
                <a:gd name="T8" fmla="*/ 9 w 103"/>
                <a:gd name="T9" fmla="*/ 138 h 160"/>
                <a:gd name="T10" fmla="*/ 9 w 103"/>
                <a:gd name="T11" fmla="*/ 143 h 160"/>
                <a:gd name="T12" fmla="*/ 9 w 103"/>
                <a:gd name="T13" fmla="*/ 156 h 160"/>
                <a:gd name="T14" fmla="*/ 31 w 103"/>
                <a:gd name="T15" fmla="*/ 160 h 160"/>
                <a:gd name="T16" fmla="*/ 49 w 103"/>
                <a:gd name="T17" fmla="*/ 156 h 160"/>
                <a:gd name="T18" fmla="*/ 63 w 103"/>
                <a:gd name="T19" fmla="*/ 156 h 160"/>
                <a:gd name="T20" fmla="*/ 85 w 103"/>
                <a:gd name="T21" fmla="*/ 156 h 160"/>
                <a:gd name="T22" fmla="*/ 98 w 103"/>
                <a:gd name="T23" fmla="*/ 160 h 160"/>
                <a:gd name="T24" fmla="*/ 103 w 103"/>
                <a:gd name="T25" fmla="*/ 143 h 160"/>
                <a:gd name="T26" fmla="*/ 94 w 103"/>
                <a:gd name="T27" fmla="*/ 138 h 160"/>
                <a:gd name="T28" fmla="*/ 80 w 103"/>
                <a:gd name="T29" fmla="*/ 125 h 160"/>
                <a:gd name="T30" fmla="*/ 76 w 103"/>
                <a:gd name="T31" fmla="*/ 98 h 160"/>
                <a:gd name="T32" fmla="*/ 94 w 103"/>
                <a:gd name="T33" fmla="*/ 80 h 160"/>
                <a:gd name="T34" fmla="*/ 89 w 103"/>
                <a:gd name="T35" fmla="*/ 71 h 160"/>
                <a:gd name="T36" fmla="*/ 72 w 103"/>
                <a:gd name="T37" fmla="*/ 49 h 160"/>
                <a:gd name="T38" fmla="*/ 72 w 103"/>
                <a:gd name="T39" fmla="*/ 40 h 160"/>
                <a:gd name="T40" fmla="*/ 89 w 103"/>
                <a:gd name="T41" fmla="*/ 44 h 160"/>
                <a:gd name="T42" fmla="*/ 85 w 103"/>
                <a:gd name="T43" fmla="*/ 31 h 160"/>
                <a:gd name="T44" fmla="*/ 85 w 103"/>
                <a:gd name="T45" fmla="*/ 17 h 160"/>
                <a:gd name="T46" fmla="*/ 80 w 103"/>
                <a:gd name="T47" fmla="*/ 0 h 160"/>
                <a:gd name="T48" fmla="*/ 76 w 103"/>
                <a:gd name="T49" fmla="*/ 4 h 160"/>
                <a:gd name="T50" fmla="*/ 76 w 103"/>
                <a:gd name="T51" fmla="*/ 17 h 160"/>
                <a:gd name="T52" fmla="*/ 67 w 103"/>
                <a:gd name="T53" fmla="*/ 22 h 160"/>
                <a:gd name="T54" fmla="*/ 63 w 103"/>
                <a:gd name="T55" fmla="*/ 49 h 160"/>
                <a:gd name="T56" fmla="*/ 58 w 103"/>
                <a:gd name="T57" fmla="*/ 49 h 160"/>
                <a:gd name="T58" fmla="*/ 54 w 103"/>
                <a:gd name="T59" fmla="*/ 62 h 160"/>
                <a:gd name="T60" fmla="*/ 45 w 103"/>
                <a:gd name="T61" fmla="*/ 67 h 160"/>
                <a:gd name="T62" fmla="*/ 31 w 103"/>
                <a:gd name="T63" fmla="*/ 89 h 160"/>
                <a:gd name="T64" fmla="*/ 22 w 103"/>
                <a:gd name="T65" fmla="*/ 84 h 160"/>
                <a:gd name="T66" fmla="*/ 13 w 103"/>
                <a:gd name="T67" fmla="*/ 84 h 160"/>
                <a:gd name="T68" fmla="*/ 5 w 103"/>
                <a:gd name="T69" fmla="*/ 111 h 160"/>
                <a:gd name="T70" fmla="*/ 0 w 103"/>
                <a:gd name="T71" fmla="*/ 116 h 16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3"/>
                <a:gd name="T109" fmla="*/ 0 h 160"/>
                <a:gd name="T110" fmla="*/ 103 w 103"/>
                <a:gd name="T111" fmla="*/ 160 h 16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3" h="160">
                  <a:moveTo>
                    <a:pt x="0" y="116"/>
                  </a:moveTo>
                  <a:lnTo>
                    <a:pt x="0" y="125"/>
                  </a:lnTo>
                  <a:lnTo>
                    <a:pt x="5" y="129"/>
                  </a:lnTo>
                  <a:lnTo>
                    <a:pt x="13" y="129"/>
                  </a:lnTo>
                  <a:lnTo>
                    <a:pt x="9" y="138"/>
                  </a:lnTo>
                  <a:lnTo>
                    <a:pt x="9" y="143"/>
                  </a:lnTo>
                  <a:lnTo>
                    <a:pt x="9" y="156"/>
                  </a:lnTo>
                  <a:lnTo>
                    <a:pt x="31" y="160"/>
                  </a:lnTo>
                  <a:lnTo>
                    <a:pt x="49" y="156"/>
                  </a:lnTo>
                  <a:lnTo>
                    <a:pt x="63" y="156"/>
                  </a:lnTo>
                  <a:lnTo>
                    <a:pt x="85" y="156"/>
                  </a:lnTo>
                  <a:lnTo>
                    <a:pt x="98" y="160"/>
                  </a:lnTo>
                  <a:lnTo>
                    <a:pt x="103" y="143"/>
                  </a:lnTo>
                  <a:lnTo>
                    <a:pt x="94" y="138"/>
                  </a:lnTo>
                  <a:lnTo>
                    <a:pt x="80" y="125"/>
                  </a:lnTo>
                  <a:lnTo>
                    <a:pt x="76" y="98"/>
                  </a:lnTo>
                  <a:lnTo>
                    <a:pt x="94" y="80"/>
                  </a:lnTo>
                  <a:lnTo>
                    <a:pt x="89" y="71"/>
                  </a:lnTo>
                  <a:lnTo>
                    <a:pt x="72" y="49"/>
                  </a:lnTo>
                  <a:lnTo>
                    <a:pt x="72" y="40"/>
                  </a:lnTo>
                  <a:lnTo>
                    <a:pt x="89" y="44"/>
                  </a:lnTo>
                  <a:lnTo>
                    <a:pt x="85" y="31"/>
                  </a:lnTo>
                  <a:lnTo>
                    <a:pt x="85" y="17"/>
                  </a:lnTo>
                  <a:lnTo>
                    <a:pt x="80" y="0"/>
                  </a:lnTo>
                  <a:lnTo>
                    <a:pt x="76" y="4"/>
                  </a:lnTo>
                  <a:lnTo>
                    <a:pt x="76" y="17"/>
                  </a:lnTo>
                  <a:lnTo>
                    <a:pt x="67" y="22"/>
                  </a:lnTo>
                  <a:lnTo>
                    <a:pt x="63" y="49"/>
                  </a:lnTo>
                  <a:lnTo>
                    <a:pt x="58" y="49"/>
                  </a:lnTo>
                  <a:lnTo>
                    <a:pt x="54" y="62"/>
                  </a:lnTo>
                  <a:lnTo>
                    <a:pt x="45" y="67"/>
                  </a:lnTo>
                  <a:lnTo>
                    <a:pt x="31" y="89"/>
                  </a:lnTo>
                  <a:lnTo>
                    <a:pt x="22" y="84"/>
                  </a:lnTo>
                  <a:lnTo>
                    <a:pt x="13" y="84"/>
                  </a:lnTo>
                  <a:lnTo>
                    <a:pt x="5" y="111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1" name="Freeform 41"/>
            <p:cNvSpPr>
              <a:spLocks noEditPoints="1"/>
            </p:cNvSpPr>
            <p:nvPr/>
          </p:nvSpPr>
          <p:spPr bwMode="gray">
            <a:xfrm>
              <a:off x="2334" y="2529"/>
              <a:ext cx="27" cy="36"/>
            </a:xfrm>
            <a:custGeom>
              <a:avLst/>
              <a:gdLst>
                <a:gd name="T0" fmla="*/ 0 w 27"/>
                <a:gd name="T1" fmla="*/ 0 h 36"/>
                <a:gd name="T2" fmla="*/ 5 w 27"/>
                <a:gd name="T3" fmla="*/ 4 h 36"/>
                <a:gd name="T4" fmla="*/ 5 w 27"/>
                <a:gd name="T5" fmla="*/ 0 h 36"/>
                <a:gd name="T6" fmla="*/ 0 w 27"/>
                <a:gd name="T7" fmla="*/ 0 h 36"/>
                <a:gd name="T8" fmla="*/ 9 w 27"/>
                <a:gd name="T9" fmla="*/ 22 h 36"/>
                <a:gd name="T10" fmla="*/ 5 w 27"/>
                <a:gd name="T11" fmla="*/ 31 h 36"/>
                <a:gd name="T12" fmla="*/ 9 w 27"/>
                <a:gd name="T13" fmla="*/ 36 h 36"/>
                <a:gd name="T14" fmla="*/ 14 w 27"/>
                <a:gd name="T15" fmla="*/ 31 h 36"/>
                <a:gd name="T16" fmla="*/ 9 w 27"/>
                <a:gd name="T17" fmla="*/ 22 h 36"/>
                <a:gd name="T18" fmla="*/ 22 w 27"/>
                <a:gd name="T19" fmla="*/ 9 h 36"/>
                <a:gd name="T20" fmla="*/ 22 w 27"/>
                <a:gd name="T21" fmla="*/ 13 h 36"/>
                <a:gd name="T22" fmla="*/ 22 w 27"/>
                <a:gd name="T23" fmla="*/ 18 h 36"/>
                <a:gd name="T24" fmla="*/ 27 w 27"/>
                <a:gd name="T25" fmla="*/ 13 h 36"/>
                <a:gd name="T26" fmla="*/ 22 w 27"/>
                <a:gd name="T27" fmla="*/ 9 h 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7"/>
                <a:gd name="T43" fmla="*/ 0 h 36"/>
                <a:gd name="T44" fmla="*/ 27 w 27"/>
                <a:gd name="T45" fmla="*/ 36 h 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7" h="36">
                  <a:moveTo>
                    <a:pt x="0" y="0"/>
                  </a:moveTo>
                  <a:lnTo>
                    <a:pt x="5" y="4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9" y="22"/>
                  </a:moveTo>
                  <a:lnTo>
                    <a:pt x="5" y="31"/>
                  </a:lnTo>
                  <a:lnTo>
                    <a:pt x="9" y="36"/>
                  </a:lnTo>
                  <a:lnTo>
                    <a:pt x="14" y="31"/>
                  </a:lnTo>
                  <a:lnTo>
                    <a:pt x="9" y="22"/>
                  </a:lnTo>
                  <a:close/>
                  <a:moveTo>
                    <a:pt x="22" y="9"/>
                  </a:moveTo>
                  <a:lnTo>
                    <a:pt x="22" y="13"/>
                  </a:lnTo>
                  <a:lnTo>
                    <a:pt x="22" y="18"/>
                  </a:lnTo>
                  <a:lnTo>
                    <a:pt x="27" y="13"/>
                  </a:lnTo>
                  <a:lnTo>
                    <a:pt x="22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2" name="Freeform 42"/>
            <p:cNvSpPr>
              <a:spLocks/>
            </p:cNvSpPr>
            <p:nvPr/>
          </p:nvSpPr>
          <p:spPr bwMode="gray">
            <a:xfrm>
              <a:off x="2888" y="2618"/>
              <a:ext cx="188" cy="117"/>
            </a:xfrm>
            <a:custGeom>
              <a:avLst/>
              <a:gdLst>
                <a:gd name="T0" fmla="*/ 27 w 188"/>
                <a:gd name="T1" fmla="*/ 117 h 117"/>
                <a:gd name="T2" fmla="*/ 45 w 188"/>
                <a:gd name="T3" fmla="*/ 103 h 117"/>
                <a:gd name="T4" fmla="*/ 63 w 188"/>
                <a:gd name="T5" fmla="*/ 103 h 117"/>
                <a:gd name="T6" fmla="*/ 63 w 188"/>
                <a:gd name="T7" fmla="*/ 99 h 117"/>
                <a:gd name="T8" fmla="*/ 76 w 188"/>
                <a:gd name="T9" fmla="*/ 85 h 117"/>
                <a:gd name="T10" fmla="*/ 85 w 188"/>
                <a:gd name="T11" fmla="*/ 94 h 117"/>
                <a:gd name="T12" fmla="*/ 116 w 188"/>
                <a:gd name="T13" fmla="*/ 99 h 117"/>
                <a:gd name="T14" fmla="*/ 121 w 188"/>
                <a:gd name="T15" fmla="*/ 90 h 117"/>
                <a:gd name="T16" fmla="*/ 130 w 188"/>
                <a:gd name="T17" fmla="*/ 94 h 117"/>
                <a:gd name="T18" fmla="*/ 147 w 188"/>
                <a:gd name="T19" fmla="*/ 85 h 117"/>
                <a:gd name="T20" fmla="*/ 152 w 188"/>
                <a:gd name="T21" fmla="*/ 90 h 117"/>
                <a:gd name="T22" fmla="*/ 161 w 188"/>
                <a:gd name="T23" fmla="*/ 85 h 117"/>
                <a:gd name="T24" fmla="*/ 188 w 188"/>
                <a:gd name="T25" fmla="*/ 90 h 117"/>
                <a:gd name="T26" fmla="*/ 188 w 188"/>
                <a:gd name="T27" fmla="*/ 76 h 117"/>
                <a:gd name="T28" fmla="*/ 174 w 188"/>
                <a:gd name="T29" fmla="*/ 72 h 117"/>
                <a:gd name="T30" fmla="*/ 161 w 188"/>
                <a:gd name="T31" fmla="*/ 45 h 117"/>
                <a:gd name="T32" fmla="*/ 147 w 188"/>
                <a:gd name="T33" fmla="*/ 41 h 117"/>
                <a:gd name="T34" fmla="*/ 143 w 188"/>
                <a:gd name="T35" fmla="*/ 36 h 117"/>
                <a:gd name="T36" fmla="*/ 130 w 188"/>
                <a:gd name="T37" fmla="*/ 32 h 117"/>
                <a:gd name="T38" fmla="*/ 125 w 188"/>
                <a:gd name="T39" fmla="*/ 18 h 117"/>
                <a:gd name="T40" fmla="*/ 121 w 188"/>
                <a:gd name="T41" fmla="*/ 0 h 117"/>
                <a:gd name="T42" fmla="*/ 112 w 188"/>
                <a:gd name="T43" fmla="*/ 0 h 117"/>
                <a:gd name="T44" fmla="*/ 103 w 188"/>
                <a:gd name="T45" fmla="*/ 5 h 117"/>
                <a:gd name="T46" fmla="*/ 89 w 188"/>
                <a:gd name="T47" fmla="*/ 27 h 117"/>
                <a:gd name="T48" fmla="*/ 71 w 188"/>
                <a:gd name="T49" fmla="*/ 32 h 117"/>
                <a:gd name="T50" fmla="*/ 67 w 188"/>
                <a:gd name="T51" fmla="*/ 41 h 117"/>
                <a:gd name="T52" fmla="*/ 49 w 188"/>
                <a:gd name="T53" fmla="*/ 45 h 117"/>
                <a:gd name="T54" fmla="*/ 36 w 188"/>
                <a:gd name="T55" fmla="*/ 54 h 117"/>
                <a:gd name="T56" fmla="*/ 27 w 188"/>
                <a:gd name="T57" fmla="*/ 50 h 117"/>
                <a:gd name="T58" fmla="*/ 18 w 188"/>
                <a:gd name="T59" fmla="*/ 54 h 117"/>
                <a:gd name="T60" fmla="*/ 0 w 188"/>
                <a:gd name="T61" fmla="*/ 72 h 117"/>
                <a:gd name="T62" fmla="*/ 4 w 188"/>
                <a:gd name="T63" fmla="*/ 99 h 117"/>
                <a:gd name="T64" fmla="*/ 18 w 188"/>
                <a:gd name="T65" fmla="*/ 112 h 117"/>
                <a:gd name="T66" fmla="*/ 27 w 188"/>
                <a:gd name="T67" fmla="*/ 117 h 11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88"/>
                <a:gd name="T103" fmla="*/ 0 h 117"/>
                <a:gd name="T104" fmla="*/ 188 w 188"/>
                <a:gd name="T105" fmla="*/ 117 h 11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88" h="117">
                  <a:moveTo>
                    <a:pt x="27" y="117"/>
                  </a:moveTo>
                  <a:lnTo>
                    <a:pt x="45" y="103"/>
                  </a:lnTo>
                  <a:lnTo>
                    <a:pt x="63" y="103"/>
                  </a:lnTo>
                  <a:lnTo>
                    <a:pt x="63" y="99"/>
                  </a:lnTo>
                  <a:lnTo>
                    <a:pt x="76" y="85"/>
                  </a:lnTo>
                  <a:lnTo>
                    <a:pt x="85" y="94"/>
                  </a:lnTo>
                  <a:lnTo>
                    <a:pt x="116" y="99"/>
                  </a:lnTo>
                  <a:lnTo>
                    <a:pt x="121" y="90"/>
                  </a:lnTo>
                  <a:lnTo>
                    <a:pt x="130" y="94"/>
                  </a:lnTo>
                  <a:lnTo>
                    <a:pt x="147" y="85"/>
                  </a:lnTo>
                  <a:lnTo>
                    <a:pt x="152" y="90"/>
                  </a:lnTo>
                  <a:lnTo>
                    <a:pt x="161" y="85"/>
                  </a:lnTo>
                  <a:lnTo>
                    <a:pt x="188" y="90"/>
                  </a:lnTo>
                  <a:lnTo>
                    <a:pt x="188" y="76"/>
                  </a:lnTo>
                  <a:lnTo>
                    <a:pt x="174" y="72"/>
                  </a:lnTo>
                  <a:lnTo>
                    <a:pt x="161" y="45"/>
                  </a:lnTo>
                  <a:lnTo>
                    <a:pt x="147" y="41"/>
                  </a:lnTo>
                  <a:lnTo>
                    <a:pt x="143" y="36"/>
                  </a:lnTo>
                  <a:lnTo>
                    <a:pt x="130" y="32"/>
                  </a:lnTo>
                  <a:lnTo>
                    <a:pt x="125" y="18"/>
                  </a:lnTo>
                  <a:lnTo>
                    <a:pt x="121" y="0"/>
                  </a:lnTo>
                  <a:lnTo>
                    <a:pt x="112" y="0"/>
                  </a:lnTo>
                  <a:lnTo>
                    <a:pt x="103" y="5"/>
                  </a:lnTo>
                  <a:lnTo>
                    <a:pt x="89" y="27"/>
                  </a:lnTo>
                  <a:lnTo>
                    <a:pt x="71" y="32"/>
                  </a:lnTo>
                  <a:lnTo>
                    <a:pt x="67" y="41"/>
                  </a:lnTo>
                  <a:lnTo>
                    <a:pt x="49" y="45"/>
                  </a:lnTo>
                  <a:lnTo>
                    <a:pt x="36" y="54"/>
                  </a:lnTo>
                  <a:lnTo>
                    <a:pt x="27" y="50"/>
                  </a:lnTo>
                  <a:lnTo>
                    <a:pt x="18" y="54"/>
                  </a:lnTo>
                  <a:lnTo>
                    <a:pt x="0" y="72"/>
                  </a:lnTo>
                  <a:lnTo>
                    <a:pt x="4" y="99"/>
                  </a:lnTo>
                  <a:lnTo>
                    <a:pt x="18" y="112"/>
                  </a:lnTo>
                  <a:lnTo>
                    <a:pt x="27" y="117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3" name="Freeform 43"/>
            <p:cNvSpPr>
              <a:spLocks/>
            </p:cNvSpPr>
            <p:nvPr/>
          </p:nvSpPr>
          <p:spPr bwMode="gray">
            <a:xfrm>
              <a:off x="2875" y="2426"/>
              <a:ext cx="147" cy="246"/>
            </a:xfrm>
            <a:custGeom>
              <a:avLst/>
              <a:gdLst>
                <a:gd name="T0" fmla="*/ 0 w 147"/>
                <a:gd name="T1" fmla="*/ 152 h 246"/>
                <a:gd name="T2" fmla="*/ 4 w 147"/>
                <a:gd name="T3" fmla="*/ 157 h 246"/>
                <a:gd name="T4" fmla="*/ 13 w 147"/>
                <a:gd name="T5" fmla="*/ 170 h 246"/>
                <a:gd name="T6" fmla="*/ 17 w 147"/>
                <a:gd name="T7" fmla="*/ 166 h 246"/>
                <a:gd name="T8" fmla="*/ 22 w 147"/>
                <a:gd name="T9" fmla="*/ 183 h 246"/>
                <a:gd name="T10" fmla="*/ 22 w 147"/>
                <a:gd name="T11" fmla="*/ 197 h 246"/>
                <a:gd name="T12" fmla="*/ 26 w 147"/>
                <a:gd name="T13" fmla="*/ 210 h 246"/>
                <a:gd name="T14" fmla="*/ 9 w 147"/>
                <a:gd name="T15" fmla="*/ 206 h 246"/>
                <a:gd name="T16" fmla="*/ 9 w 147"/>
                <a:gd name="T17" fmla="*/ 215 h 246"/>
                <a:gd name="T18" fmla="*/ 26 w 147"/>
                <a:gd name="T19" fmla="*/ 237 h 246"/>
                <a:gd name="T20" fmla="*/ 31 w 147"/>
                <a:gd name="T21" fmla="*/ 246 h 246"/>
                <a:gd name="T22" fmla="*/ 40 w 147"/>
                <a:gd name="T23" fmla="*/ 242 h 246"/>
                <a:gd name="T24" fmla="*/ 49 w 147"/>
                <a:gd name="T25" fmla="*/ 246 h 246"/>
                <a:gd name="T26" fmla="*/ 62 w 147"/>
                <a:gd name="T27" fmla="*/ 237 h 246"/>
                <a:gd name="T28" fmla="*/ 80 w 147"/>
                <a:gd name="T29" fmla="*/ 233 h 246"/>
                <a:gd name="T30" fmla="*/ 84 w 147"/>
                <a:gd name="T31" fmla="*/ 224 h 246"/>
                <a:gd name="T32" fmla="*/ 102 w 147"/>
                <a:gd name="T33" fmla="*/ 219 h 246"/>
                <a:gd name="T34" fmla="*/ 116 w 147"/>
                <a:gd name="T35" fmla="*/ 197 h 246"/>
                <a:gd name="T36" fmla="*/ 125 w 147"/>
                <a:gd name="T37" fmla="*/ 192 h 246"/>
                <a:gd name="T38" fmla="*/ 134 w 147"/>
                <a:gd name="T39" fmla="*/ 192 h 246"/>
                <a:gd name="T40" fmla="*/ 129 w 147"/>
                <a:gd name="T41" fmla="*/ 183 h 246"/>
                <a:gd name="T42" fmla="*/ 129 w 147"/>
                <a:gd name="T43" fmla="*/ 179 h 246"/>
                <a:gd name="T44" fmla="*/ 120 w 147"/>
                <a:gd name="T45" fmla="*/ 166 h 246"/>
                <a:gd name="T46" fmla="*/ 125 w 147"/>
                <a:gd name="T47" fmla="*/ 152 h 246"/>
                <a:gd name="T48" fmla="*/ 134 w 147"/>
                <a:gd name="T49" fmla="*/ 148 h 246"/>
                <a:gd name="T50" fmla="*/ 129 w 147"/>
                <a:gd name="T51" fmla="*/ 143 h 246"/>
                <a:gd name="T52" fmla="*/ 134 w 147"/>
                <a:gd name="T53" fmla="*/ 139 h 246"/>
                <a:gd name="T54" fmla="*/ 134 w 147"/>
                <a:gd name="T55" fmla="*/ 130 h 246"/>
                <a:gd name="T56" fmla="*/ 147 w 147"/>
                <a:gd name="T57" fmla="*/ 125 h 246"/>
                <a:gd name="T58" fmla="*/ 147 w 147"/>
                <a:gd name="T59" fmla="*/ 67 h 246"/>
                <a:gd name="T60" fmla="*/ 35 w 147"/>
                <a:gd name="T61" fmla="*/ 0 h 246"/>
                <a:gd name="T62" fmla="*/ 22 w 147"/>
                <a:gd name="T63" fmla="*/ 9 h 246"/>
                <a:gd name="T64" fmla="*/ 31 w 147"/>
                <a:gd name="T65" fmla="*/ 27 h 246"/>
                <a:gd name="T66" fmla="*/ 31 w 147"/>
                <a:gd name="T67" fmla="*/ 40 h 246"/>
                <a:gd name="T68" fmla="*/ 40 w 147"/>
                <a:gd name="T69" fmla="*/ 49 h 246"/>
                <a:gd name="T70" fmla="*/ 31 w 147"/>
                <a:gd name="T71" fmla="*/ 67 h 246"/>
                <a:gd name="T72" fmla="*/ 26 w 147"/>
                <a:gd name="T73" fmla="*/ 112 h 246"/>
                <a:gd name="T74" fmla="*/ 4 w 147"/>
                <a:gd name="T75" fmla="*/ 130 h 246"/>
                <a:gd name="T76" fmla="*/ 0 w 147"/>
                <a:gd name="T77" fmla="*/ 139 h 246"/>
                <a:gd name="T78" fmla="*/ 0 w 147"/>
                <a:gd name="T79" fmla="*/ 152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47"/>
                <a:gd name="T121" fmla="*/ 0 h 246"/>
                <a:gd name="T122" fmla="*/ 147 w 147"/>
                <a:gd name="T123" fmla="*/ 246 h 2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47" h="246">
                  <a:moveTo>
                    <a:pt x="0" y="152"/>
                  </a:moveTo>
                  <a:lnTo>
                    <a:pt x="4" y="157"/>
                  </a:lnTo>
                  <a:lnTo>
                    <a:pt x="13" y="170"/>
                  </a:lnTo>
                  <a:lnTo>
                    <a:pt x="17" y="166"/>
                  </a:lnTo>
                  <a:lnTo>
                    <a:pt x="22" y="183"/>
                  </a:lnTo>
                  <a:lnTo>
                    <a:pt x="22" y="197"/>
                  </a:lnTo>
                  <a:lnTo>
                    <a:pt x="26" y="210"/>
                  </a:lnTo>
                  <a:lnTo>
                    <a:pt x="9" y="206"/>
                  </a:lnTo>
                  <a:lnTo>
                    <a:pt x="9" y="215"/>
                  </a:lnTo>
                  <a:lnTo>
                    <a:pt x="26" y="237"/>
                  </a:lnTo>
                  <a:lnTo>
                    <a:pt x="31" y="246"/>
                  </a:lnTo>
                  <a:lnTo>
                    <a:pt x="40" y="242"/>
                  </a:lnTo>
                  <a:lnTo>
                    <a:pt x="49" y="246"/>
                  </a:lnTo>
                  <a:lnTo>
                    <a:pt x="62" y="237"/>
                  </a:lnTo>
                  <a:lnTo>
                    <a:pt x="80" y="233"/>
                  </a:lnTo>
                  <a:lnTo>
                    <a:pt x="84" y="224"/>
                  </a:lnTo>
                  <a:lnTo>
                    <a:pt x="102" y="219"/>
                  </a:lnTo>
                  <a:lnTo>
                    <a:pt x="116" y="197"/>
                  </a:lnTo>
                  <a:lnTo>
                    <a:pt x="125" y="192"/>
                  </a:lnTo>
                  <a:lnTo>
                    <a:pt x="134" y="192"/>
                  </a:lnTo>
                  <a:lnTo>
                    <a:pt x="129" y="183"/>
                  </a:lnTo>
                  <a:lnTo>
                    <a:pt x="129" y="179"/>
                  </a:lnTo>
                  <a:lnTo>
                    <a:pt x="120" y="166"/>
                  </a:lnTo>
                  <a:lnTo>
                    <a:pt x="125" y="152"/>
                  </a:lnTo>
                  <a:lnTo>
                    <a:pt x="134" y="148"/>
                  </a:lnTo>
                  <a:lnTo>
                    <a:pt x="129" y="143"/>
                  </a:lnTo>
                  <a:lnTo>
                    <a:pt x="134" y="139"/>
                  </a:lnTo>
                  <a:lnTo>
                    <a:pt x="134" y="130"/>
                  </a:lnTo>
                  <a:lnTo>
                    <a:pt x="147" y="125"/>
                  </a:lnTo>
                  <a:lnTo>
                    <a:pt x="147" y="67"/>
                  </a:lnTo>
                  <a:lnTo>
                    <a:pt x="35" y="0"/>
                  </a:lnTo>
                  <a:lnTo>
                    <a:pt x="22" y="9"/>
                  </a:lnTo>
                  <a:lnTo>
                    <a:pt x="31" y="27"/>
                  </a:lnTo>
                  <a:lnTo>
                    <a:pt x="31" y="40"/>
                  </a:lnTo>
                  <a:lnTo>
                    <a:pt x="40" y="49"/>
                  </a:lnTo>
                  <a:lnTo>
                    <a:pt x="31" y="67"/>
                  </a:lnTo>
                  <a:lnTo>
                    <a:pt x="26" y="112"/>
                  </a:lnTo>
                  <a:lnTo>
                    <a:pt x="4" y="130"/>
                  </a:lnTo>
                  <a:lnTo>
                    <a:pt x="0" y="139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4" name="Freeform 44"/>
            <p:cNvSpPr>
              <a:spLocks noEditPoints="1"/>
            </p:cNvSpPr>
            <p:nvPr/>
          </p:nvSpPr>
          <p:spPr bwMode="gray">
            <a:xfrm>
              <a:off x="3303" y="2945"/>
              <a:ext cx="18" cy="17"/>
            </a:xfrm>
            <a:custGeom>
              <a:avLst/>
              <a:gdLst>
                <a:gd name="T0" fmla="*/ 5 w 18"/>
                <a:gd name="T1" fmla="*/ 9 h 17"/>
                <a:gd name="T2" fmla="*/ 5 w 18"/>
                <a:gd name="T3" fmla="*/ 4 h 17"/>
                <a:gd name="T4" fmla="*/ 5 w 18"/>
                <a:gd name="T5" fmla="*/ 0 h 17"/>
                <a:gd name="T6" fmla="*/ 0 w 18"/>
                <a:gd name="T7" fmla="*/ 4 h 17"/>
                <a:gd name="T8" fmla="*/ 0 w 18"/>
                <a:gd name="T9" fmla="*/ 9 h 17"/>
                <a:gd name="T10" fmla="*/ 5 w 18"/>
                <a:gd name="T11" fmla="*/ 9 h 17"/>
                <a:gd name="T12" fmla="*/ 18 w 18"/>
                <a:gd name="T13" fmla="*/ 13 h 17"/>
                <a:gd name="T14" fmla="*/ 18 w 18"/>
                <a:gd name="T15" fmla="*/ 17 h 17"/>
                <a:gd name="T16" fmla="*/ 18 w 18"/>
                <a:gd name="T17" fmla="*/ 13 h 17"/>
                <a:gd name="T18" fmla="*/ 18 w 18"/>
                <a:gd name="T19" fmla="*/ 13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17"/>
                <a:gd name="T32" fmla="*/ 18 w 18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17">
                  <a:moveTo>
                    <a:pt x="5" y="9"/>
                  </a:moveTo>
                  <a:lnTo>
                    <a:pt x="5" y="4"/>
                  </a:lnTo>
                  <a:lnTo>
                    <a:pt x="5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5" y="9"/>
                  </a:lnTo>
                  <a:close/>
                  <a:moveTo>
                    <a:pt x="18" y="13"/>
                  </a:moveTo>
                  <a:lnTo>
                    <a:pt x="18" y="17"/>
                  </a:lnTo>
                  <a:lnTo>
                    <a:pt x="18" y="1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5" name="Freeform 45"/>
            <p:cNvSpPr>
              <a:spLocks/>
            </p:cNvSpPr>
            <p:nvPr/>
          </p:nvSpPr>
          <p:spPr bwMode="gray">
            <a:xfrm>
              <a:off x="3326" y="2962"/>
              <a:ext cx="9" cy="9"/>
            </a:xfrm>
            <a:custGeom>
              <a:avLst/>
              <a:gdLst>
                <a:gd name="T0" fmla="*/ 9 w 9"/>
                <a:gd name="T1" fmla="*/ 9 h 9"/>
                <a:gd name="T2" fmla="*/ 9 w 9"/>
                <a:gd name="T3" fmla="*/ 9 h 9"/>
                <a:gd name="T4" fmla="*/ 9 w 9"/>
                <a:gd name="T5" fmla="*/ 5 h 9"/>
                <a:gd name="T6" fmla="*/ 4 w 9"/>
                <a:gd name="T7" fmla="*/ 5 h 9"/>
                <a:gd name="T8" fmla="*/ 0 w 9"/>
                <a:gd name="T9" fmla="*/ 0 h 9"/>
                <a:gd name="T10" fmla="*/ 4 w 9"/>
                <a:gd name="T11" fmla="*/ 9 h 9"/>
                <a:gd name="T12" fmla="*/ 9 w 9"/>
                <a:gd name="T13" fmla="*/ 9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9" y="9"/>
                  </a:moveTo>
                  <a:lnTo>
                    <a:pt x="9" y="9"/>
                  </a:lnTo>
                  <a:lnTo>
                    <a:pt x="9" y="5"/>
                  </a:lnTo>
                  <a:lnTo>
                    <a:pt x="4" y="5"/>
                  </a:lnTo>
                  <a:lnTo>
                    <a:pt x="0" y="0"/>
                  </a:lnTo>
                  <a:lnTo>
                    <a:pt x="4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6" name="Freeform 46"/>
            <p:cNvSpPr>
              <a:spLocks/>
            </p:cNvSpPr>
            <p:nvPr/>
          </p:nvSpPr>
          <p:spPr bwMode="gray">
            <a:xfrm>
              <a:off x="2839" y="2721"/>
              <a:ext cx="112" cy="134"/>
            </a:xfrm>
            <a:custGeom>
              <a:avLst/>
              <a:gdLst>
                <a:gd name="T0" fmla="*/ 0 w 112"/>
                <a:gd name="T1" fmla="*/ 112 h 134"/>
                <a:gd name="T2" fmla="*/ 9 w 112"/>
                <a:gd name="T3" fmla="*/ 125 h 134"/>
                <a:gd name="T4" fmla="*/ 13 w 112"/>
                <a:gd name="T5" fmla="*/ 134 h 134"/>
                <a:gd name="T6" fmla="*/ 22 w 112"/>
                <a:gd name="T7" fmla="*/ 125 h 134"/>
                <a:gd name="T8" fmla="*/ 27 w 112"/>
                <a:gd name="T9" fmla="*/ 125 h 134"/>
                <a:gd name="T10" fmla="*/ 36 w 112"/>
                <a:gd name="T11" fmla="*/ 130 h 134"/>
                <a:gd name="T12" fmla="*/ 40 w 112"/>
                <a:gd name="T13" fmla="*/ 125 h 134"/>
                <a:gd name="T14" fmla="*/ 49 w 112"/>
                <a:gd name="T15" fmla="*/ 125 h 134"/>
                <a:gd name="T16" fmla="*/ 58 w 112"/>
                <a:gd name="T17" fmla="*/ 130 h 134"/>
                <a:gd name="T18" fmla="*/ 71 w 112"/>
                <a:gd name="T19" fmla="*/ 121 h 134"/>
                <a:gd name="T20" fmla="*/ 76 w 112"/>
                <a:gd name="T21" fmla="*/ 107 h 134"/>
                <a:gd name="T22" fmla="*/ 76 w 112"/>
                <a:gd name="T23" fmla="*/ 90 h 134"/>
                <a:gd name="T24" fmla="*/ 98 w 112"/>
                <a:gd name="T25" fmla="*/ 72 h 134"/>
                <a:gd name="T26" fmla="*/ 103 w 112"/>
                <a:gd name="T27" fmla="*/ 40 h 134"/>
                <a:gd name="T28" fmla="*/ 112 w 112"/>
                <a:gd name="T29" fmla="*/ 9 h 134"/>
                <a:gd name="T30" fmla="*/ 112 w 112"/>
                <a:gd name="T31" fmla="*/ 0 h 134"/>
                <a:gd name="T32" fmla="*/ 94 w 112"/>
                <a:gd name="T33" fmla="*/ 0 h 134"/>
                <a:gd name="T34" fmla="*/ 76 w 112"/>
                <a:gd name="T35" fmla="*/ 14 h 134"/>
                <a:gd name="T36" fmla="*/ 71 w 112"/>
                <a:gd name="T37" fmla="*/ 31 h 134"/>
                <a:gd name="T38" fmla="*/ 58 w 112"/>
                <a:gd name="T39" fmla="*/ 27 h 134"/>
                <a:gd name="T40" fmla="*/ 36 w 112"/>
                <a:gd name="T41" fmla="*/ 27 h 134"/>
                <a:gd name="T42" fmla="*/ 31 w 112"/>
                <a:gd name="T43" fmla="*/ 40 h 134"/>
                <a:gd name="T44" fmla="*/ 49 w 112"/>
                <a:gd name="T45" fmla="*/ 40 h 134"/>
                <a:gd name="T46" fmla="*/ 49 w 112"/>
                <a:gd name="T47" fmla="*/ 49 h 134"/>
                <a:gd name="T48" fmla="*/ 45 w 112"/>
                <a:gd name="T49" fmla="*/ 54 h 134"/>
                <a:gd name="T50" fmla="*/ 49 w 112"/>
                <a:gd name="T51" fmla="*/ 76 h 134"/>
                <a:gd name="T52" fmla="*/ 49 w 112"/>
                <a:gd name="T53" fmla="*/ 90 h 134"/>
                <a:gd name="T54" fmla="*/ 31 w 112"/>
                <a:gd name="T55" fmla="*/ 94 h 134"/>
                <a:gd name="T56" fmla="*/ 22 w 112"/>
                <a:gd name="T57" fmla="*/ 85 h 134"/>
                <a:gd name="T58" fmla="*/ 13 w 112"/>
                <a:gd name="T59" fmla="*/ 94 h 134"/>
                <a:gd name="T60" fmla="*/ 4 w 112"/>
                <a:gd name="T61" fmla="*/ 94 h 134"/>
                <a:gd name="T62" fmla="*/ 9 w 112"/>
                <a:gd name="T63" fmla="*/ 98 h 134"/>
                <a:gd name="T64" fmla="*/ 9 w 112"/>
                <a:gd name="T65" fmla="*/ 107 h 134"/>
                <a:gd name="T66" fmla="*/ 4 w 112"/>
                <a:gd name="T67" fmla="*/ 107 h 134"/>
                <a:gd name="T68" fmla="*/ 0 w 112"/>
                <a:gd name="T69" fmla="*/ 112 h 13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2"/>
                <a:gd name="T106" fmla="*/ 0 h 134"/>
                <a:gd name="T107" fmla="*/ 112 w 112"/>
                <a:gd name="T108" fmla="*/ 134 h 13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2" h="134">
                  <a:moveTo>
                    <a:pt x="0" y="112"/>
                  </a:moveTo>
                  <a:lnTo>
                    <a:pt x="9" y="125"/>
                  </a:lnTo>
                  <a:lnTo>
                    <a:pt x="13" y="134"/>
                  </a:lnTo>
                  <a:lnTo>
                    <a:pt x="22" y="125"/>
                  </a:lnTo>
                  <a:lnTo>
                    <a:pt x="27" y="125"/>
                  </a:lnTo>
                  <a:lnTo>
                    <a:pt x="36" y="130"/>
                  </a:lnTo>
                  <a:lnTo>
                    <a:pt x="40" y="125"/>
                  </a:lnTo>
                  <a:lnTo>
                    <a:pt x="49" y="125"/>
                  </a:lnTo>
                  <a:lnTo>
                    <a:pt x="58" y="130"/>
                  </a:lnTo>
                  <a:lnTo>
                    <a:pt x="71" y="121"/>
                  </a:lnTo>
                  <a:lnTo>
                    <a:pt x="76" y="107"/>
                  </a:lnTo>
                  <a:lnTo>
                    <a:pt x="76" y="90"/>
                  </a:lnTo>
                  <a:lnTo>
                    <a:pt x="98" y="72"/>
                  </a:lnTo>
                  <a:lnTo>
                    <a:pt x="103" y="40"/>
                  </a:lnTo>
                  <a:lnTo>
                    <a:pt x="112" y="9"/>
                  </a:lnTo>
                  <a:lnTo>
                    <a:pt x="112" y="0"/>
                  </a:lnTo>
                  <a:lnTo>
                    <a:pt x="94" y="0"/>
                  </a:lnTo>
                  <a:lnTo>
                    <a:pt x="76" y="14"/>
                  </a:lnTo>
                  <a:lnTo>
                    <a:pt x="71" y="31"/>
                  </a:lnTo>
                  <a:lnTo>
                    <a:pt x="58" y="27"/>
                  </a:lnTo>
                  <a:lnTo>
                    <a:pt x="36" y="27"/>
                  </a:lnTo>
                  <a:lnTo>
                    <a:pt x="31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45" y="54"/>
                  </a:lnTo>
                  <a:lnTo>
                    <a:pt x="49" y="76"/>
                  </a:lnTo>
                  <a:lnTo>
                    <a:pt x="49" y="90"/>
                  </a:lnTo>
                  <a:lnTo>
                    <a:pt x="31" y="94"/>
                  </a:lnTo>
                  <a:lnTo>
                    <a:pt x="22" y="85"/>
                  </a:lnTo>
                  <a:lnTo>
                    <a:pt x="13" y="94"/>
                  </a:lnTo>
                  <a:lnTo>
                    <a:pt x="4" y="94"/>
                  </a:lnTo>
                  <a:lnTo>
                    <a:pt x="9" y="98"/>
                  </a:lnTo>
                  <a:lnTo>
                    <a:pt x="9" y="107"/>
                  </a:lnTo>
                  <a:lnTo>
                    <a:pt x="4" y="107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7" name="Freeform 47"/>
            <p:cNvSpPr>
              <a:spLocks/>
            </p:cNvSpPr>
            <p:nvPr/>
          </p:nvSpPr>
          <p:spPr bwMode="gray">
            <a:xfrm>
              <a:off x="2857" y="2703"/>
              <a:ext cx="272" cy="268"/>
            </a:xfrm>
            <a:custGeom>
              <a:avLst/>
              <a:gdLst>
                <a:gd name="T0" fmla="*/ 18 w 272"/>
                <a:gd name="T1" fmla="*/ 148 h 268"/>
                <a:gd name="T2" fmla="*/ 31 w 272"/>
                <a:gd name="T3" fmla="*/ 143 h 268"/>
                <a:gd name="T4" fmla="*/ 53 w 272"/>
                <a:gd name="T5" fmla="*/ 139 h 268"/>
                <a:gd name="T6" fmla="*/ 58 w 272"/>
                <a:gd name="T7" fmla="*/ 108 h 268"/>
                <a:gd name="T8" fmla="*/ 85 w 272"/>
                <a:gd name="T9" fmla="*/ 58 h 268"/>
                <a:gd name="T10" fmla="*/ 94 w 272"/>
                <a:gd name="T11" fmla="*/ 18 h 268"/>
                <a:gd name="T12" fmla="*/ 107 w 272"/>
                <a:gd name="T13" fmla="*/ 0 h 268"/>
                <a:gd name="T14" fmla="*/ 147 w 272"/>
                <a:gd name="T15" fmla="*/ 14 h 268"/>
                <a:gd name="T16" fmla="*/ 161 w 272"/>
                <a:gd name="T17" fmla="*/ 9 h 268"/>
                <a:gd name="T18" fmla="*/ 183 w 272"/>
                <a:gd name="T19" fmla="*/ 5 h 268"/>
                <a:gd name="T20" fmla="*/ 219 w 272"/>
                <a:gd name="T21" fmla="*/ 5 h 268"/>
                <a:gd name="T22" fmla="*/ 254 w 272"/>
                <a:gd name="T23" fmla="*/ 9 h 268"/>
                <a:gd name="T24" fmla="*/ 268 w 272"/>
                <a:gd name="T25" fmla="*/ 41 h 268"/>
                <a:gd name="T26" fmla="*/ 254 w 272"/>
                <a:gd name="T27" fmla="*/ 67 h 268"/>
                <a:gd name="T28" fmla="*/ 245 w 272"/>
                <a:gd name="T29" fmla="*/ 103 h 268"/>
                <a:gd name="T30" fmla="*/ 245 w 272"/>
                <a:gd name="T31" fmla="*/ 116 h 268"/>
                <a:gd name="T32" fmla="*/ 245 w 272"/>
                <a:gd name="T33" fmla="*/ 130 h 268"/>
                <a:gd name="T34" fmla="*/ 245 w 272"/>
                <a:gd name="T35" fmla="*/ 139 h 268"/>
                <a:gd name="T36" fmla="*/ 245 w 272"/>
                <a:gd name="T37" fmla="*/ 166 h 268"/>
                <a:gd name="T38" fmla="*/ 263 w 272"/>
                <a:gd name="T39" fmla="*/ 201 h 268"/>
                <a:gd name="T40" fmla="*/ 236 w 272"/>
                <a:gd name="T41" fmla="*/ 219 h 268"/>
                <a:gd name="T42" fmla="*/ 245 w 272"/>
                <a:gd name="T43" fmla="*/ 259 h 268"/>
                <a:gd name="T44" fmla="*/ 259 w 272"/>
                <a:gd name="T45" fmla="*/ 268 h 268"/>
                <a:gd name="T46" fmla="*/ 232 w 272"/>
                <a:gd name="T47" fmla="*/ 259 h 268"/>
                <a:gd name="T48" fmla="*/ 219 w 272"/>
                <a:gd name="T49" fmla="*/ 246 h 268"/>
                <a:gd name="T50" fmla="*/ 187 w 272"/>
                <a:gd name="T51" fmla="*/ 237 h 268"/>
                <a:gd name="T52" fmla="*/ 169 w 272"/>
                <a:gd name="T53" fmla="*/ 233 h 268"/>
                <a:gd name="T54" fmla="*/ 134 w 272"/>
                <a:gd name="T55" fmla="*/ 184 h 268"/>
                <a:gd name="T56" fmla="*/ 120 w 272"/>
                <a:gd name="T57" fmla="*/ 179 h 268"/>
                <a:gd name="T58" fmla="*/ 102 w 272"/>
                <a:gd name="T59" fmla="*/ 197 h 268"/>
                <a:gd name="T60" fmla="*/ 71 w 272"/>
                <a:gd name="T61" fmla="*/ 184 h 268"/>
                <a:gd name="T62" fmla="*/ 67 w 272"/>
                <a:gd name="T63" fmla="*/ 166 h 268"/>
                <a:gd name="T64" fmla="*/ 0 w 272"/>
                <a:gd name="T65" fmla="*/ 161 h 268"/>
                <a:gd name="T66" fmla="*/ 9 w 272"/>
                <a:gd name="T67" fmla="*/ 143 h 2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72"/>
                <a:gd name="T103" fmla="*/ 0 h 268"/>
                <a:gd name="T104" fmla="*/ 272 w 272"/>
                <a:gd name="T105" fmla="*/ 268 h 2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72" h="268">
                  <a:moveTo>
                    <a:pt x="9" y="143"/>
                  </a:moveTo>
                  <a:lnTo>
                    <a:pt x="18" y="148"/>
                  </a:lnTo>
                  <a:lnTo>
                    <a:pt x="22" y="143"/>
                  </a:lnTo>
                  <a:lnTo>
                    <a:pt x="31" y="143"/>
                  </a:lnTo>
                  <a:lnTo>
                    <a:pt x="40" y="148"/>
                  </a:lnTo>
                  <a:lnTo>
                    <a:pt x="53" y="139"/>
                  </a:lnTo>
                  <a:lnTo>
                    <a:pt x="58" y="125"/>
                  </a:lnTo>
                  <a:lnTo>
                    <a:pt x="58" y="108"/>
                  </a:lnTo>
                  <a:lnTo>
                    <a:pt x="80" y="90"/>
                  </a:lnTo>
                  <a:lnTo>
                    <a:pt x="85" y="58"/>
                  </a:lnTo>
                  <a:lnTo>
                    <a:pt x="94" y="27"/>
                  </a:lnTo>
                  <a:lnTo>
                    <a:pt x="94" y="18"/>
                  </a:lnTo>
                  <a:lnTo>
                    <a:pt x="94" y="14"/>
                  </a:lnTo>
                  <a:lnTo>
                    <a:pt x="107" y="0"/>
                  </a:lnTo>
                  <a:lnTo>
                    <a:pt x="116" y="9"/>
                  </a:lnTo>
                  <a:lnTo>
                    <a:pt x="147" y="14"/>
                  </a:lnTo>
                  <a:lnTo>
                    <a:pt x="152" y="5"/>
                  </a:lnTo>
                  <a:lnTo>
                    <a:pt x="161" y="9"/>
                  </a:lnTo>
                  <a:lnTo>
                    <a:pt x="178" y="0"/>
                  </a:lnTo>
                  <a:lnTo>
                    <a:pt x="183" y="5"/>
                  </a:lnTo>
                  <a:lnTo>
                    <a:pt x="192" y="0"/>
                  </a:lnTo>
                  <a:lnTo>
                    <a:pt x="219" y="5"/>
                  </a:lnTo>
                  <a:lnTo>
                    <a:pt x="232" y="14"/>
                  </a:lnTo>
                  <a:lnTo>
                    <a:pt x="254" y="9"/>
                  </a:lnTo>
                  <a:lnTo>
                    <a:pt x="268" y="23"/>
                  </a:lnTo>
                  <a:lnTo>
                    <a:pt x="268" y="41"/>
                  </a:lnTo>
                  <a:lnTo>
                    <a:pt x="272" y="45"/>
                  </a:lnTo>
                  <a:lnTo>
                    <a:pt x="254" y="67"/>
                  </a:lnTo>
                  <a:lnTo>
                    <a:pt x="254" y="99"/>
                  </a:lnTo>
                  <a:lnTo>
                    <a:pt x="245" y="103"/>
                  </a:lnTo>
                  <a:lnTo>
                    <a:pt x="245" y="108"/>
                  </a:lnTo>
                  <a:lnTo>
                    <a:pt x="245" y="116"/>
                  </a:lnTo>
                  <a:lnTo>
                    <a:pt x="250" y="130"/>
                  </a:lnTo>
                  <a:lnTo>
                    <a:pt x="245" y="130"/>
                  </a:lnTo>
                  <a:lnTo>
                    <a:pt x="241" y="143"/>
                  </a:lnTo>
                  <a:lnTo>
                    <a:pt x="245" y="139"/>
                  </a:lnTo>
                  <a:lnTo>
                    <a:pt x="241" y="148"/>
                  </a:lnTo>
                  <a:lnTo>
                    <a:pt x="245" y="166"/>
                  </a:lnTo>
                  <a:lnTo>
                    <a:pt x="259" y="184"/>
                  </a:lnTo>
                  <a:lnTo>
                    <a:pt x="263" y="201"/>
                  </a:lnTo>
                  <a:lnTo>
                    <a:pt x="241" y="206"/>
                  </a:lnTo>
                  <a:lnTo>
                    <a:pt x="236" y="219"/>
                  </a:lnTo>
                  <a:lnTo>
                    <a:pt x="232" y="246"/>
                  </a:lnTo>
                  <a:lnTo>
                    <a:pt x="245" y="259"/>
                  </a:lnTo>
                  <a:lnTo>
                    <a:pt x="259" y="251"/>
                  </a:lnTo>
                  <a:lnTo>
                    <a:pt x="259" y="268"/>
                  </a:lnTo>
                  <a:lnTo>
                    <a:pt x="241" y="268"/>
                  </a:lnTo>
                  <a:lnTo>
                    <a:pt x="232" y="259"/>
                  </a:lnTo>
                  <a:lnTo>
                    <a:pt x="223" y="255"/>
                  </a:lnTo>
                  <a:lnTo>
                    <a:pt x="219" y="246"/>
                  </a:lnTo>
                  <a:lnTo>
                    <a:pt x="196" y="251"/>
                  </a:lnTo>
                  <a:lnTo>
                    <a:pt x="187" y="237"/>
                  </a:lnTo>
                  <a:lnTo>
                    <a:pt x="178" y="242"/>
                  </a:lnTo>
                  <a:lnTo>
                    <a:pt x="169" y="233"/>
                  </a:lnTo>
                  <a:lnTo>
                    <a:pt x="143" y="237"/>
                  </a:lnTo>
                  <a:lnTo>
                    <a:pt x="134" y="184"/>
                  </a:lnTo>
                  <a:lnTo>
                    <a:pt x="125" y="184"/>
                  </a:lnTo>
                  <a:lnTo>
                    <a:pt x="120" y="179"/>
                  </a:lnTo>
                  <a:lnTo>
                    <a:pt x="107" y="179"/>
                  </a:lnTo>
                  <a:lnTo>
                    <a:pt x="102" y="197"/>
                  </a:lnTo>
                  <a:lnTo>
                    <a:pt x="80" y="197"/>
                  </a:lnTo>
                  <a:lnTo>
                    <a:pt x="71" y="184"/>
                  </a:lnTo>
                  <a:lnTo>
                    <a:pt x="71" y="179"/>
                  </a:lnTo>
                  <a:lnTo>
                    <a:pt x="67" y="166"/>
                  </a:lnTo>
                  <a:lnTo>
                    <a:pt x="13" y="166"/>
                  </a:lnTo>
                  <a:lnTo>
                    <a:pt x="0" y="161"/>
                  </a:lnTo>
                  <a:lnTo>
                    <a:pt x="9" y="14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8" name="Freeform 48"/>
            <p:cNvSpPr>
              <a:spLocks/>
            </p:cNvSpPr>
            <p:nvPr/>
          </p:nvSpPr>
          <p:spPr bwMode="gray">
            <a:xfrm>
              <a:off x="2696" y="2596"/>
              <a:ext cx="45" cy="94"/>
            </a:xfrm>
            <a:custGeom>
              <a:avLst/>
              <a:gdLst>
                <a:gd name="T0" fmla="*/ 0 w 45"/>
                <a:gd name="T1" fmla="*/ 18 h 94"/>
                <a:gd name="T2" fmla="*/ 0 w 45"/>
                <a:gd name="T3" fmla="*/ 31 h 94"/>
                <a:gd name="T4" fmla="*/ 9 w 45"/>
                <a:gd name="T5" fmla="*/ 40 h 94"/>
                <a:gd name="T6" fmla="*/ 9 w 45"/>
                <a:gd name="T7" fmla="*/ 54 h 94"/>
                <a:gd name="T8" fmla="*/ 13 w 45"/>
                <a:gd name="T9" fmla="*/ 54 h 94"/>
                <a:gd name="T10" fmla="*/ 13 w 45"/>
                <a:gd name="T11" fmla="*/ 80 h 94"/>
                <a:gd name="T12" fmla="*/ 18 w 45"/>
                <a:gd name="T13" fmla="*/ 94 h 94"/>
                <a:gd name="T14" fmla="*/ 36 w 45"/>
                <a:gd name="T15" fmla="*/ 89 h 94"/>
                <a:gd name="T16" fmla="*/ 31 w 45"/>
                <a:gd name="T17" fmla="*/ 76 h 94"/>
                <a:gd name="T18" fmla="*/ 31 w 45"/>
                <a:gd name="T19" fmla="*/ 58 h 94"/>
                <a:gd name="T20" fmla="*/ 40 w 45"/>
                <a:gd name="T21" fmla="*/ 54 h 94"/>
                <a:gd name="T22" fmla="*/ 45 w 45"/>
                <a:gd name="T23" fmla="*/ 45 h 94"/>
                <a:gd name="T24" fmla="*/ 45 w 45"/>
                <a:gd name="T25" fmla="*/ 27 h 94"/>
                <a:gd name="T26" fmla="*/ 40 w 45"/>
                <a:gd name="T27" fmla="*/ 18 h 94"/>
                <a:gd name="T28" fmla="*/ 45 w 45"/>
                <a:gd name="T29" fmla="*/ 9 h 94"/>
                <a:gd name="T30" fmla="*/ 31 w 45"/>
                <a:gd name="T31" fmla="*/ 0 h 94"/>
                <a:gd name="T32" fmla="*/ 22 w 45"/>
                <a:gd name="T33" fmla="*/ 9 h 94"/>
                <a:gd name="T34" fmla="*/ 18 w 45"/>
                <a:gd name="T35" fmla="*/ 9 h 94"/>
                <a:gd name="T36" fmla="*/ 9 w 45"/>
                <a:gd name="T37" fmla="*/ 18 h 94"/>
                <a:gd name="T38" fmla="*/ 0 w 45"/>
                <a:gd name="T39" fmla="*/ 18 h 9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5"/>
                <a:gd name="T61" fmla="*/ 0 h 94"/>
                <a:gd name="T62" fmla="*/ 45 w 45"/>
                <a:gd name="T63" fmla="*/ 94 h 9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5" h="94">
                  <a:moveTo>
                    <a:pt x="0" y="18"/>
                  </a:moveTo>
                  <a:lnTo>
                    <a:pt x="0" y="31"/>
                  </a:lnTo>
                  <a:lnTo>
                    <a:pt x="9" y="40"/>
                  </a:lnTo>
                  <a:lnTo>
                    <a:pt x="9" y="54"/>
                  </a:lnTo>
                  <a:lnTo>
                    <a:pt x="13" y="54"/>
                  </a:lnTo>
                  <a:lnTo>
                    <a:pt x="13" y="80"/>
                  </a:lnTo>
                  <a:lnTo>
                    <a:pt x="18" y="94"/>
                  </a:lnTo>
                  <a:lnTo>
                    <a:pt x="36" y="89"/>
                  </a:lnTo>
                  <a:lnTo>
                    <a:pt x="31" y="76"/>
                  </a:lnTo>
                  <a:lnTo>
                    <a:pt x="31" y="58"/>
                  </a:lnTo>
                  <a:lnTo>
                    <a:pt x="40" y="54"/>
                  </a:lnTo>
                  <a:lnTo>
                    <a:pt x="45" y="45"/>
                  </a:lnTo>
                  <a:lnTo>
                    <a:pt x="45" y="27"/>
                  </a:lnTo>
                  <a:lnTo>
                    <a:pt x="40" y="18"/>
                  </a:lnTo>
                  <a:lnTo>
                    <a:pt x="45" y="9"/>
                  </a:lnTo>
                  <a:lnTo>
                    <a:pt x="31" y="0"/>
                  </a:lnTo>
                  <a:lnTo>
                    <a:pt x="2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69" name="Freeform 49"/>
            <p:cNvSpPr>
              <a:spLocks noEditPoints="1"/>
            </p:cNvSpPr>
            <p:nvPr/>
          </p:nvSpPr>
          <p:spPr bwMode="gray">
            <a:xfrm>
              <a:off x="2803" y="2721"/>
              <a:ext cx="40" cy="45"/>
            </a:xfrm>
            <a:custGeom>
              <a:avLst/>
              <a:gdLst>
                <a:gd name="T0" fmla="*/ 5 w 40"/>
                <a:gd name="T1" fmla="*/ 0 h 45"/>
                <a:gd name="T2" fmla="*/ 0 w 40"/>
                <a:gd name="T3" fmla="*/ 5 h 45"/>
                <a:gd name="T4" fmla="*/ 0 w 40"/>
                <a:gd name="T5" fmla="*/ 9 h 45"/>
                <a:gd name="T6" fmla="*/ 5 w 40"/>
                <a:gd name="T7" fmla="*/ 9 h 45"/>
                <a:gd name="T8" fmla="*/ 9 w 40"/>
                <a:gd name="T9" fmla="*/ 5 h 45"/>
                <a:gd name="T10" fmla="*/ 5 w 40"/>
                <a:gd name="T11" fmla="*/ 0 h 45"/>
                <a:gd name="T12" fmla="*/ 18 w 40"/>
                <a:gd name="T13" fmla="*/ 27 h 45"/>
                <a:gd name="T14" fmla="*/ 40 w 40"/>
                <a:gd name="T15" fmla="*/ 31 h 45"/>
                <a:gd name="T16" fmla="*/ 40 w 40"/>
                <a:gd name="T17" fmla="*/ 45 h 45"/>
                <a:gd name="T18" fmla="*/ 18 w 40"/>
                <a:gd name="T19" fmla="*/ 45 h 45"/>
                <a:gd name="T20" fmla="*/ 14 w 40"/>
                <a:gd name="T21" fmla="*/ 40 h 45"/>
                <a:gd name="T22" fmla="*/ 18 w 40"/>
                <a:gd name="T23" fmla="*/ 27 h 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45"/>
                <a:gd name="T38" fmla="*/ 40 w 40"/>
                <a:gd name="T39" fmla="*/ 45 h 4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45">
                  <a:moveTo>
                    <a:pt x="5" y="0"/>
                  </a:moveTo>
                  <a:lnTo>
                    <a:pt x="0" y="5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5"/>
                  </a:lnTo>
                  <a:lnTo>
                    <a:pt x="5" y="0"/>
                  </a:lnTo>
                  <a:close/>
                  <a:moveTo>
                    <a:pt x="18" y="27"/>
                  </a:moveTo>
                  <a:lnTo>
                    <a:pt x="40" y="31"/>
                  </a:lnTo>
                  <a:lnTo>
                    <a:pt x="40" y="45"/>
                  </a:lnTo>
                  <a:lnTo>
                    <a:pt x="18" y="45"/>
                  </a:lnTo>
                  <a:lnTo>
                    <a:pt x="14" y="40"/>
                  </a:lnTo>
                  <a:lnTo>
                    <a:pt x="18" y="27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0" name="Freeform 50"/>
            <p:cNvSpPr>
              <a:spLocks/>
            </p:cNvSpPr>
            <p:nvPr/>
          </p:nvSpPr>
          <p:spPr bwMode="gray">
            <a:xfrm>
              <a:off x="3160" y="2569"/>
              <a:ext cx="215" cy="161"/>
            </a:xfrm>
            <a:custGeom>
              <a:avLst/>
              <a:gdLst>
                <a:gd name="T0" fmla="*/ 36 w 215"/>
                <a:gd name="T1" fmla="*/ 143 h 161"/>
                <a:gd name="T2" fmla="*/ 41 w 215"/>
                <a:gd name="T3" fmla="*/ 148 h 161"/>
                <a:gd name="T4" fmla="*/ 54 w 215"/>
                <a:gd name="T5" fmla="*/ 143 h 161"/>
                <a:gd name="T6" fmla="*/ 72 w 215"/>
                <a:gd name="T7" fmla="*/ 157 h 161"/>
                <a:gd name="T8" fmla="*/ 94 w 215"/>
                <a:gd name="T9" fmla="*/ 161 h 161"/>
                <a:gd name="T10" fmla="*/ 99 w 215"/>
                <a:gd name="T11" fmla="*/ 152 h 161"/>
                <a:gd name="T12" fmla="*/ 108 w 215"/>
                <a:gd name="T13" fmla="*/ 148 h 161"/>
                <a:gd name="T14" fmla="*/ 117 w 215"/>
                <a:gd name="T15" fmla="*/ 152 h 161"/>
                <a:gd name="T16" fmla="*/ 130 w 215"/>
                <a:gd name="T17" fmla="*/ 152 h 161"/>
                <a:gd name="T18" fmla="*/ 139 w 215"/>
                <a:gd name="T19" fmla="*/ 143 h 161"/>
                <a:gd name="T20" fmla="*/ 166 w 215"/>
                <a:gd name="T21" fmla="*/ 139 h 161"/>
                <a:gd name="T22" fmla="*/ 215 w 215"/>
                <a:gd name="T23" fmla="*/ 99 h 161"/>
                <a:gd name="T24" fmla="*/ 193 w 215"/>
                <a:gd name="T25" fmla="*/ 99 h 161"/>
                <a:gd name="T26" fmla="*/ 157 w 215"/>
                <a:gd name="T27" fmla="*/ 81 h 161"/>
                <a:gd name="T28" fmla="*/ 148 w 215"/>
                <a:gd name="T29" fmla="*/ 72 h 161"/>
                <a:gd name="T30" fmla="*/ 139 w 215"/>
                <a:gd name="T31" fmla="*/ 58 h 161"/>
                <a:gd name="T32" fmla="*/ 143 w 215"/>
                <a:gd name="T33" fmla="*/ 49 h 161"/>
                <a:gd name="T34" fmla="*/ 139 w 215"/>
                <a:gd name="T35" fmla="*/ 49 h 161"/>
                <a:gd name="T36" fmla="*/ 126 w 215"/>
                <a:gd name="T37" fmla="*/ 49 h 161"/>
                <a:gd name="T38" fmla="*/ 126 w 215"/>
                <a:gd name="T39" fmla="*/ 36 h 161"/>
                <a:gd name="T40" fmla="*/ 108 w 215"/>
                <a:gd name="T41" fmla="*/ 14 h 161"/>
                <a:gd name="T42" fmla="*/ 94 w 215"/>
                <a:gd name="T43" fmla="*/ 9 h 161"/>
                <a:gd name="T44" fmla="*/ 76 w 215"/>
                <a:gd name="T45" fmla="*/ 9 h 161"/>
                <a:gd name="T46" fmla="*/ 72 w 215"/>
                <a:gd name="T47" fmla="*/ 0 h 161"/>
                <a:gd name="T48" fmla="*/ 63 w 215"/>
                <a:gd name="T49" fmla="*/ 9 h 161"/>
                <a:gd name="T50" fmla="*/ 50 w 215"/>
                <a:gd name="T51" fmla="*/ 5 h 161"/>
                <a:gd name="T52" fmla="*/ 45 w 215"/>
                <a:gd name="T53" fmla="*/ 23 h 161"/>
                <a:gd name="T54" fmla="*/ 32 w 215"/>
                <a:gd name="T55" fmla="*/ 23 h 161"/>
                <a:gd name="T56" fmla="*/ 23 w 215"/>
                <a:gd name="T57" fmla="*/ 45 h 161"/>
                <a:gd name="T58" fmla="*/ 23 w 215"/>
                <a:gd name="T59" fmla="*/ 54 h 161"/>
                <a:gd name="T60" fmla="*/ 14 w 215"/>
                <a:gd name="T61" fmla="*/ 54 h 161"/>
                <a:gd name="T62" fmla="*/ 14 w 215"/>
                <a:gd name="T63" fmla="*/ 90 h 161"/>
                <a:gd name="T64" fmla="*/ 0 w 215"/>
                <a:gd name="T65" fmla="*/ 90 h 161"/>
                <a:gd name="T66" fmla="*/ 0 w 215"/>
                <a:gd name="T67" fmla="*/ 103 h 161"/>
                <a:gd name="T68" fmla="*/ 14 w 215"/>
                <a:gd name="T69" fmla="*/ 107 h 161"/>
                <a:gd name="T70" fmla="*/ 27 w 215"/>
                <a:gd name="T71" fmla="*/ 121 h 161"/>
                <a:gd name="T72" fmla="*/ 23 w 215"/>
                <a:gd name="T73" fmla="*/ 130 h 161"/>
                <a:gd name="T74" fmla="*/ 36 w 215"/>
                <a:gd name="T75" fmla="*/ 134 h 161"/>
                <a:gd name="T76" fmla="*/ 36 w 215"/>
                <a:gd name="T77" fmla="*/ 143 h 16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5"/>
                <a:gd name="T118" fmla="*/ 0 h 161"/>
                <a:gd name="T119" fmla="*/ 215 w 215"/>
                <a:gd name="T120" fmla="*/ 161 h 16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5" h="161">
                  <a:moveTo>
                    <a:pt x="36" y="143"/>
                  </a:moveTo>
                  <a:lnTo>
                    <a:pt x="41" y="148"/>
                  </a:lnTo>
                  <a:lnTo>
                    <a:pt x="54" y="143"/>
                  </a:lnTo>
                  <a:lnTo>
                    <a:pt x="72" y="157"/>
                  </a:lnTo>
                  <a:lnTo>
                    <a:pt x="94" y="161"/>
                  </a:lnTo>
                  <a:lnTo>
                    <a:pt x="99" y="152"/>
                  </a:lnTo>
                  <a:lnTo>
                    <a:pt x="108" y="148"/>
                  </a:lnTo>
                  <a:lnTo>
                    <a:pt x="117" y="152"/>
                  </a:lnTo>
                  <a:lnTo>
                    <a:pt x="130" y="152"/>
                  </a:lnTo>
                  <a:lnTo>
                    <a:pt x="139" y="143"/>
                  </a:lnTo>
                  <a:lnTo>
                    <a:pt x="166" y="139"/>
                  </a:lnTo>
                  <a:lnTo>
                    <a:pt x="215" y="99"/>
                  </a:lnTo>
                  <a:lnTo>
                    <a:pt x="193" y="99"/>
                  </a:lnTo>
                  <a:lnTo>
                    <a:pt x="157" y="81"/>
                  </a:lnTo>
                  <a:lnTo>
                    <a:pt x="148" y="72"/>
                  </a:lnTo>
                  <a:lnTo>
                    <a:pt x="139" y="58"/>
                  </a:lnTo>
                  <a:lnTo>
                    <a:pt x="143" y="49"/>
                  </a:lnTo>
                  <a:lnTo>
                    <a:pt x="139" y="49"/>
                  </a:lnTo>
                  <a:lnTo>
                    <a:pt x="126" y="49"/>
                  </a:lnTo>
                  <a:lnTo>
                    <a:pt x="126" y="36"/>
                  </a:lnTo>
                  <a:lnTo>
                    <a:pt x="108" y="14"/>
                  </a:lnTo>
                  <a:lnTo>
                    <a:pt x="94" y="9"/>
                  </a:lnTo>
                  <a:lnTo>
                    <a:pt x="76" y="9"/>
                  </a:lnTo>
                  <a:lnTo>
                    <a:pt x="72" y="0"/>
                  </a:lnTo>
                  <a:lnTo>
                    <a:pt x="63" y="9"/>
                  </a:lnTo>
                  <a:lnTo>
                    <a:pt x="50" y="5"/>
                  </a:lnTo>
                  <a:lnTo>
                    <a:pt x="45" y="23"/>
                  </a:lnTo>
                  <a:lnTo>
                    <a:pt x="32" y="23"/>
                  </a:lnTo>
                  <a:lnTo>
                    <a:pt x="23" y="45"/>
                  </a:lnTo>
                  <a:lnTo>
                    <a:pt x="23" y="54"/>
                  </a:lnTo>
                  <a:lnTo>
                    <a:pt x="14" y="54"/>
                  </a:lnTo>
                  <a:lnTo>
                    <a:pt x="14" y="90"/>
                  </a:lnTo>
                  <a:lnTo>
                    <a:pt x="0" y="90"/>
                  </a:lnTo>
                  <a:lnTo>
                    <a:pt x="0" y="103"/>
                  </a:lnTo>
                  <a:lnTo>
                    <a:pt x="14" y="107"/>
                  </a:lnTo>
                  <a:lnTo>
                    <a:pt x="27" y="121"/>
                  </a:lnTo>
                  <a:lnTo>
                    <a:pt x="23" y="130"/>
                  </a:lnTo>
                  <a:lnTo>
                    <a:pt x="36" y="134"/>
                  </a:lnTo>
                  <a:lnTo>
                    <a:pt x="36" y="14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1" name="Freeform 51"/>
            <p:cNvSpPr>
              <a:spLocks/>
            </p:cNvSpPr>
            <p:nvPr/>
          </p:nvSpPr>
          <p:spPr bwMode="gray">
            <a:xfrm>
              <a:off x="3205" y="2516"/>
              <a:ext cx="98" cy="89"/>
            </a:xfrm>
            <a:custGeom>
              <a:avLst/>
              <a:gdLst>
                <a:gd name="T0" fmla="*/ 31 w 98"/>
                <a:gd name="T1" fmla="*/ 0 h 89"/>
                <a:gd name="T2" fmla="*/ 18 w 98"/>
                <a:gd name="T3" fmla="*/ 4 h 89"/>
                <a:gd name="T4" fmla="*/ 9 w 98"/>
                <a:gd name="T5" fmla="*/ 13 h 89"/>
                <a:gd name="T6" fmla="*/ 9 w 98"/>
                <a:gd name="T7" fmla="*/ 31 h 89"/>
                <a:gd name="T8" fmla="*/ 0 w 98"/>
                <a:gd name="T9" fmla="*/ 40 h 89"/>
                <a:gd name="T10" fmla="*/ 5 w 98"/>
                <a:gd name="T11" fmla="*/ 58 h 89"/>
                <a:gd name="T12" fmla="*/ 18 w 98"/>
                <a:gd name="T13" fmla="*/ 62 h 89"/>
                <a:gd name="T14" fmla="*/ 27 w 98"/>
                <a:gd name="T15" fmla="*/ 53 h 89"/>
                <a:gd name="T16" fmla="*/ 31 w 98"/>
                <a:gd name="T17" fmla="*/ 62 h 89"/>
                <a:gd name="T18" fmla="*/ 49 w 98"/>
                <a:gd name="T19" fmla="*/ 62 h 89"/>
                <a:gd name="T20" fmla="*/ 63 w 98"/>
                <a:gd name="T21" fmla="*/ 67 h 89"/>
                <a:gd name="T22" fmla="*/ 81 w 98"/>
                <a:gd name="T23" fmla="*/ 89 h 89"/>
                <a:gd name="T24" fmla="*/ 98 w 98"/>
                <a:gd name="T25" fmla="*/ 80 h 89"/>
                <a:gd name="T26" fmla="*/ 76 w 98"/>
                <a:gd name="T27" fmla="*/ 58 h 89"/>
                <a:gd name="T28" fmla="*/ 58 w 98"/>
                <a:gd name="T29" fmla="*/ 44 h 89"/>
                <a:gd name="T30" fmla="*/ 54 w 98"/>
                <a:gd name="T31" fmla="*/ 49 h 89"/>
                <a:gd name="T32" fmla="*/ 54 w 98"/>
                <a:gd name="T33" fmla="*/ 35 h 89"/>
                <a:gd name="T34" fmla="*/ 58 w 98"/>
                <a:gd name="T35" fmla="*/ 35 h 89"/>
                <a:gd name="T36" fmla="*/ 54 w 98"/>
                <a:gd name="T37" fmla="*/ 31 h 89"/>
                <a:gd name="T38" fmla="*/ 54 w 98"/>
                <a:gd name="T39" fmla="*/ 22 h 89"/>
                <a:gd name="T40" fmla="*/ 49 w 98"/>
                <a:gd name="T41" fmla="*/ 31 h 89"/>
                <a:gd name="T42" fmla="*/ 45 w 98"/>
                <a:gd name="T43" fmla="*/ 40 h 89"/>
                <a:gd name="T44" fmla="*/ 36 w 98"/>
                <a:gd name="T45" fmla="*/ 13 h 89"/>
                <a:gd name="T46" fmla="*/ 31 w 98"/>
                <a:gd name="T47" fmla="*/ 0 h 8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8"/>
                <a:gd name="T73" fmla="*/ 0 h 89"/>
                <a:gd name="T74" fmla="*/ 98 w 98"/>
                <a:gd name="T75" fmla="*/ 89 h 8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8" h="89">
                  <a:moveTo>
                    <a:pt x="31" y="0"/>
                  </a:moveTo>
                  <a:lnTo>
                    <a:pt x="18" y="4"/>
                  </a:lnTo>
                  <a:lnTo>
                    <a:pt x="9" y="13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5" y="58"/>
                  </a:lnTo>
                  <a:lnTo>
                    <a:pt x="18" y="62"/>
                  </a:lnTo>
                  <a:lnTo>
                    <a:pt x="27" y="53"/>
                  </a:lnTo>
                  <a:lnTo>
                    <a:pt x="31" y="62"/>
                  </a:lnTo>
                  <a:lnTo>
                    <a:pt x="49" y="62"/>
                  </a:lnTo>
                  <a:lnTo>
                    <a:pt x="63" y="67"/>
                  </a:lnTo>
                  <a:lnTo>
                    <a:pt x="81" y="89"/>
                  </a:lnTo>
                  <a:lnTo>
                    <a:pt x="98" y="80"/>
                  </a:lnTo>
                  <a:lnTo>
                    <a:pt x="76" y="58"/>
                  </a:lnTo>
                  <a:lnTo>
                    <a:pt x="58" y="44"/>
                  </a:lnTo>
                  <a:lnTo>
                    <a:pt x="54" y="49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31"/>
                  </a:lnTo>
                  <a:lnTo>
                    <a:pt x="54" y="22"/>
                  </a:lnTo>
                  <a:lnTo>
                    <a:pt x="49" y="31"/>
                  </a:lnTo>
                  <a:lnTo>
                    <a:pt x="45" y="40"/>
                  </a:lnTo>
                  <a:lnTo>
                    <a:pt x="36" y="13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2" name="Freeform 52"/>
            <p:cNvSpPr>
              <a:spLocks/>
            </p:cNvSpPr>
            <p:nvPr/>
          </p:nvSpPr>
          <p:spPr bwMode="gray">
            <a:xfrm>
              <a:off x="3286" y="2596"/>
              <a:ext cx="22" cy="22"/>
            </a:xfrm>
            <a:custGeom>
              <a:avLst/>
              <a:gdLst>
                <a:gd name="T0" fmla="*/ 0 w 22"/>
                <a:gd name="T1" fmla="*/ 9 h 22"/>
                <a:gd name="T2" fmla="*/ 17 w 22"/>
                <a:gd name="T3" fmla="*/ 0 h 22"/>
                <a:gd name="T4" fmla="*/ 22 w 22"/>
                <a:gd name="T5" fmla="*/ 5 h 22"/>
                <a:gd name="T6" fmla="*/ 8 w 22"/>
                <a:gd name="T7" fmla="*/ 13 h 22"/>
                <a:gd name="T8" fmla="*/ 17 w 22"/>
                <a:gd name="T9" fmla="*/ 13 h 22"/>
                <a:gd name="T10" fmla="*/ 22 w 22"/>
                <a:gd name="T11" fmla="*/ 18 h 22"/>
                <a:gd name="T12" fmla="*/ 17 w 22"/>
                <a:gd name="T13" fmla="*/ 22 h 22"/>
                <a:gd name="T14" fmla="*/ 13 w 22"/>
                <a:gd name="T15" fmla="*/ 22 h 22"/>
                <a:gd name="T16" fmla="*/ 0 w 22"/>
                <a:gd name="T17" fmla="*/ 22 h 22"/>
                <a:gd name="T18" fmla="*/ 0 w 22"/>
                <a:gd name="T19" fmla="*/ 9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"/>
                <a:gd name="T31" fmla="*/ 0 h 22"/>
                <a:gd name="T32" fmla="*/ 22 w 22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" h="22">
                  <a:moveTo>
                    <a:pt x="0" y="9"/>
                  </a:moveTo>
                  <a:lnTo>
                    <a:pt x="17" y="0"/>
                  </a:lnTo>
                  <a:lnTo>
                    <a:pt x="22" y="5"/>
                  </a:lnTo>
                  <a:lnTo>
                    <a:pt x="8" y="13"/>
                  </a:lnTo>
                  <a:lnTo>
                    <a:pt x="17" y="13"/>
                  </a:lnTo>
                  <a:lnTo>
                    <a:pt x="22" y="18"/>
                  </a:lnTo>
                  <a:lnTo>
                    <a:pt x="17" y="22"/>
                  </a:lnTo>
                  <a:lnTo>
                    <a:pt x="13" y="22"/>
                  </a:lnTo>
                  <a:lnTo>
                    <a:pt x="0" y="2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3" name="Freeform 53"/>
            <p:cNvSpPr>
              <a:spLocks/>
            </p:cNvSpPr>
            <p:nvPr/>
          </p:nvSpPr>
          <p:spPr bwMode="gray">
            <a:xfrm>
              <a:off x="2808" y="2748"/>
              <a:ext cx="80" cy="85"/>
            </a:xfrm>
            <a:custGeom>
              <a:avLst/>
              <a:gdLst>
                <a:gd name="T0" fmla="*/ 13 w 80"/>
                <a:gd name="T1" fmla="*/ 18 h 85"/>
                <a:gd name="T2" fmla="*/ 9 w 80"/>
                <a:gd name="T3" fmla="*/ 22 h 85"/>
                <a:gd name="T4" fmla="*/ 4 w 80"/>
                <a:gd name="T5" fmla="*/ 36 h 85"/>
                <a:gd name="T6" fmla="*/ 0 w 80"/>
                <a:gd name="T7" fmla="*/ 40 h 85"/>
                <a:gd name="T8" fmla="*/ 0 w 80"/>
                <a:gd name="T9" fmla="*/ 45 h 85"/>
                <a:gd name="T10" fmla="*/ 13 w 80"/>
                <a:gd name="T11" fmla="*/ 49 h 85"/>
                <a:gd name="T12" fmla="*/ 9 w 80"/>
                <a:gd name="T13" fmla="*/ 54 h 85"/>
                <a:gd name="T14" fmla="*/ 17 w 80"/>
                <a:gd name="T15" fmla="*/ 71 h 85"/>
                <a:gd name="T16" fmla="*/ 31 w 80"/>
                <a:gd name="T17" fmla="*/ 85 h 85"/>
                <a:gd name="T18" fmla="*/ 35 w 80"/>
                <a:gd name="T19" fmla="*/ 80 h 85"/>
                <a:gd name="T20" fmla="*/ 40 w 80"/>
                <a:gd name="T21" fmla="*/ 80 h 85"/>
                <a:gd name="T22" fmla="*/ 40 w 80"/>
                <a:gd name="T23" fmla="*/ 71 h 85"/>
                <a:gd name="T24" fmla="*/ 35 w 80"/>
                <a:gd name="T25" fmla="*/ 67 h 85"/>
                <a:gd name="T26" fmla="*/ 44 w 80"/>
                <a:gd name="T27" fmla="*/ 67 h 85"/>
                <a:gd name="T28" fmla="*/ 53 w 80"/>
                <a:gd name="T29" fmla="*/ 58 h 85"/>
                <a:gd name="T30" fmla="*/ 62 w 80"/>
                <a:gd name="T31" fmla="*/ 67 h 85"/>
                <a:gd name="T32" fmla="*/ 80 w 80"/>
                <a:gd name="T33" fmla="*/ 63 h 85"/>
                <a:gd name="T34" fmla="*/ 80 w 80"/>
                <a:gd name="T35" fmla="*/ 49 h 85"/>
                <a:gd name="T36" fmla="*/ 76 w 80"/>
                <a:gd name="T37" fmla="*/ 27 h 85"/>
                <a:gd name="T38" fmla="*/ 80 w 80"/>
                <a:gd name="T39" fmla="*/ 22 h 85"/>
                <a:gd name="T40" fmla="*/ 80 w 80"/>
                <a:gd name="T41" fmla="*/ 13 h 85"/>
                <a:gd name="T42" fmla="*/ 62 w 80"/>
                <a:gd name="T43" fmla="*/ 13 h 85"/>
                <a:gd name="T44" fmla="*/ 67 w 80"/>
                <a:gd name="T45" fmla="*/ 0 h 85"/>
                <a:gd name="T46" fmla="*/ 53 w 80"/>
                <a:gd name="T47" fmla="*/ 0 h 85"/>
                <a:gd name="T48" fmla="*/ 35 w 80"/>
                <a:gd name="T49" fmla="*/ 4 h 85"/>
                <a:gd name="T50" fmla="*/ 35 w 80"/>
                <a:gd name="T51" fmla="*/ 18 h 85"/>
                <a:gd name="T52" fmla="*/ 13 w 80"/>
                <a:gd name="T53" fmla="*/ 18 h 8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80"/>
                <a:gd name="T82" fmla="*/ 0 h 85"/>
                <a:gd name="T83" fmla="*/ 80 w 80"/>
                <a:gd name="T84" fmla="*/ 85 h 8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80" h="85">
                  <a:moveTo>
                    <a:pt x="13" y="18"/>
                  </a:moveTo>
                  <a:lnTo>
                    <a:pt x="9" y="22"/>
                  </a:lnTo>
                  <a:lnTo>
                    <a:pt x="4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13" y="49"/>
                  </a:lnTo>
                  <a:lnTo>
                    <a:pt x="9" y="54"/>
                  </a:lnTo>
                  <a:lnTo>
                    <a:pt x="17" y="71"/>
                  </a:lnTo>
                  <a:lnTo>
                    <a:pt x="31" y="85"/>
                  </a:lnTo>
                  <a:lnTo>
                    <a:pt x="35" y="80"/>
                  </a:lnTo>
                  <a:lnTo>
                    <a:pt x="40" y="80"/>
                  </a:lnTo>
                  <a:lnTo>
                    <a:pt x="40" y="71"/>
                  </a:lnTo>
                  <a:lnTo>
                    <a:pt x="35" y="67"/>
                  </a:lnTo>
                  <a:lnTo>
                    <a:pt x="44" y="67"/>
                  </a:lnTo>
                  <a:lnTo>
                    <a:pt x="53" y="58"/>
                  </a:lnTo>
                  <a:lnTo>
                    <a:pt x="62" y="67"/>
                  </a:lnTo>
                  <a:lnTo>
                    <a:pt x="80" y="63"/>
                  </a:lnTo>
                  <a:lnTo>
                    <a:pt x="80" y="49"/>
                  </a:lnTo>
                  <a:lnTo>
                    <a:pt x="76" y="27"/>
                  </a:lnTo>
                  <a:lnTo>
                    <a:pt x="80" y="22"/>
                  </a:lnTo>
                  <a:lnTo>
                    <a:pt x="80" y="13"/>
                  </a:lnTo>
                  <a:lnTo>
                    <a:pt x="62" y="13"/>
                  </a:lnTo>
                  <a:lnTo>
                    <a:pt x="67" y="0"/>
                  </a:lnTo>
                  <a:lnTo>
                    <a:pt x="53" y="0"/>
                  </a:lnTo>
                  <a:lnTo>
                    <a:pt x="35" y="4"/>
                  </a:lnTo>
                  <a:lnTo>
                    <a:pt x="35" y="18"/>
                  </a:lnTo>
                  <a:lnTo>
                    <a:pt x="13" y="18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4" name="Freeform 54"/>
            <p:cNvSpPr>
              <a:spLocks/>
            </p:cNvSpPr>
            <p:nvPr/>
          </p:nvSpPr>
          <p:spPr bwMode="gray">
            <a:xfrm>
              <a:off x="2446" y="2578"/>
              <a:ext cx="40" cy="14"/>
            </a:xfrm>
            <a:custGeom>
              <a:avLst/>
              <a:gdLst>
                <a:gd name="T0" fmla="*/ 0 w 40"/>
                <a:gd name="T1" fmla="*/ 9 h 14"/>
                <a:gd name="T2" fmla="*/ 18 w 40"/>
                <a:gd name="T3" fmla="*/ 14 h 14"/>
                <a:gd name="T4" fmla="*/ 27 w 40"/>
                <a:gd name="T5" fmla="*/ 5 h 14"/>
                <a:gd name="T6" fmla="*/ 36 w 40"/>
                <a:gd name="T7" fmla="*/ 9 h 14"/>
                <a:gd name="T8" fmla="*/ 40 w 40"/>
                <a:gd name="T9" fmla="*/ 5 h 14"/>
                <a:gd name="T10" fmla="*/ 36 w 40"/>
                <a:gd name="T11" fmla="*/ 0 h 14"/>
                <a:gd name="T12" fmla="*/ 27 w 40"/>
                <a:gd name="T13" fmla="*/ 0 h 14"/>
                <a:gd name="T14" fmla="*/ 4 w 40"/>
                <a:gd name="T15" fmla="*/ 0 h 14"/>
                <a:gd name="T16" fmla="*/ 4 w 40"/>
                <a:gd name="T17" fmla="*/ 5 h 14"/>
                <a:gd name="T18" fmla="*/ 0 w 40"/>
                <a:gd name="T19" fmla="*/ 5 h 14"/>
                <a:gd name="T20" fmla="*/ 0 w 40"/>
                <a:gd name="T21" fmla="*/ 9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14"/>
                <a:gd name="T35" fmla="*/ 40 w 40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14">
                  <a:moveTo>
                    <a:pt x="0" y="9"/>
                  </a:moveTo>
                  <a:lnTo>
                    <a:pt x="18" y="14"/>
                  </a:lnTo>
                  <a:lnTo>
                    <a:pt x="27" y="5"/>
                  </a:lnTo>
                  <a:lnTo>
                    <a:pt x="36" y="9"/>
                  </a:lnTo>
                  <a:lnTo>
                    <a:pt x="40" y="5"/>
                  </a:lnTo>
                  <a:lnTo>
                    <a:pt x="36" y="0"/>
                  </a:lnTo>
                  <a:lnTo>
                    <a:pt x="27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0" y="5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5" name="Freeform 55"/>
            <p:cNvSpPr>
              <a:spLocks/>
            </p:cNvSpPr>
            <p:nvPr/>
          </p:nvSpPr>
          <p:spPr bwMode="gray">
            <a:xfrm>
              <a:off x="2638" y="2614"/>
              <a:ext cx="62" cy="98"/>
            </a:xfrm>
            <a:custGeom>
              <a:avLst/>
              <a:gdLst>
                <a:gd name="T0" fmla="*/ 4 w 62"/>
                <a:gd name="T1" fmla="*/ 89 h 98"/>
                <a:gd name="T2" fmla="*/ 13 w 62"/>
                <a:gd name="T3" fmla="*/ 98 h 98"/>
                <a:gd name="T4" fmla="*/ 18 w 62"/>
                <a:gd name="T5" fmla="*/ 89 h 98"/>
                <a:gd name="T6" fmla="*/ 31 w 62"/>
                <a:gd name="T7" fmla="*/ 89 h 98"/>
                <a:gd name="T8" fmla="*/ 45 w 62"/>
                <a:gd name="T9" fmla="*/ 80 h 98"/>
                <a:gd name="T10" fmla="*/ 58 w 62"/>
                <a:gd name="T11" fmla="*/ 80 h 98"/>
                <a:gd name="T12" fmla="*/ 62 w 62"/>
                <a:gd name="T13" fmla="*/ 76 h 98"/>
                <a:gd name="T14" fmla="*/ 58 w 62"/>
                <a:gd name="T15" fmla="*/ 71 h 98"/>
                <a:gd name="T16" fmla="*/ 53 w 62"/>
                <a:gd name="T17" fmla="*/ 62 h 98"/>
                <a:gd name="T18" fmla="*/ 53 w 62"/>
                <a:gd name="T19" fmla="*/ 54 h 98"/>
                <a:gd name="T20" fmla="*/ 49 w 62"/>
                <a:gd name="T21" fmla="*/ 40 h 98"/>
                <a:gd name="T22" fmla="*/ 53 w 62"/>
                <a:gd name="T23" fmla="*/ 36 h 98"/>
                <a:gd name="T24" fmla="*/ 53 w 62"/>
                <a:gd name="T25" fmla="*/ 13 h 98"/>
                <a:gd name="T26" fmla="*/ 45 w 62"/>
                <a:gd name="T27" fmla="*/ 9 h 98"/>
                <a:gd name="T28" fmla="*/ 49 w 62"/>
                <a:gd name="T29" fmla="*/ 0 h 98"/>
                <a:gd name="T30" fmla="*/ 45 w 62"/>
                <a:gd name="T31" fmla="*/ 0 h 98"/>
                <a:gd name="T32" fmla="*/ 36 w 62"/>
                <a:gd name="T33" fmla="*/ 4 h 98"/>
                <a:gd name="T34" fmla="*/ 4 w 62"/>
                <a:gd name="T35" fmla="*/ 4 h 98"/>
                <a:gd name="T36" fmla="*/ 4 w 62"/>
                <a:gd name="T37" fmla="*/ 18 h 98"/>
                <a:gd name="T38" fmla="*/ 4 w 62"/>
                <a:gd name="T39" fmla="*/ 31 h 98"/>
                <a:gd name="T40" fmla="*/ 9 w 62"/>
                <a:gd name="T41" fmla="*/ 45 h 98"/>
                <a:gd name="T42" fmla="*/ 4 w 62"/>
                <a:gd name="T43" fmla="*/ 54 h 98"/>
                <a:gd name="T44" fmla="*/ 0 w 62"/>
                <a:gd name="T45" fmla="*/ 67 h 98"/>
                <a:gd name="T46" fmla="*/ 4 w 62"/>
                <a:gd name="T47" fmla="*/ 85 h 98"/>
                <a:gd name="T48" fmla="*/ 4 w 62"/>
                <a:gd name="T49" fmla="*/ 89 h 9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2"/>
                <a:gd name="T76" fmla="*/ 0 h 98"/>
                <a:gd name="T77" fmla="*/ 62 w 62"/>
                <a:gd name="T78" fmla="*/ 98 h 9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2" h="98">
                  <a:moveTo>
                    <a:pt x="4" y="89"/>
                  </a:moveTo>
                  <a:lnTo>
                    <a:pt x="13" y="98"/>
                  </a:lnTo>
                  <a:lnTo>
                    <a:pt x="18" y="89"/>
                  </a:lnTo>
                  <a:lnTo>
                    <a:pt x="31" y="89"/>
                  </a:lnTo>
                  <a:lnTo>
                    <a:pt x="45" y="80"/>
                  </a:lnTo>
                  <a:lnTo>
                    <a:pt x="58" y="80"/>
                  </a:lnTo>
                  <a:lnTo>
                    <a:pt x="62" y="76"/>
                  </a:lnTo>
                  <a:lnTo>
                    <a:pt x="58" y="71"/>
                  </a:lnTo>
                  <a:lnTo>
                    <a:pt x="53" y="62"/>
                  </a:lnTo>
                  <a:lnTo>
                    <a:pt x="53" y="54"/>
                  </a:lnTo>
                  <a:lnTo>
                    <a:pt x="49" y="40"/>
                  </a:lnTo>
                  <a:lnTo>
                    <a:pt x="53" y="36"/>
                  </a:lnTo>
                  <a:lnTo>
                    <a:pt x="53" y="13"/>
                  </a:lnTo>
                  <a:lnTo>
                    <a:pt x="45" y="9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36" y="4"/>
                  </a:lnTo>
                  <a:lnTo>
                    <a:pt x="4" y="4"/>
                  </a:lnTo>
                  <a:lnTo>
                    <a:pt x="4" y="18"/>
                  </a:lnTo>
                  <a:lnTo>
                    <a:pt x="4" y="31"/>
                  </a:lnTo>
                  <a:lnTo>
                    <a:pt x="9" y="45"/>
                  </a:lnTo>
                  <a:lnTo>
                    <a:pt x="4" y="54"/>
                  </a:lnTo>
                  <a:lnTo>
                    <a:pt x="0" y="67"/>
                  </a:lnTo>
                  <a:lnTo>
                    <a:pt x="4" y="85"/>
                  </a:lnTo>
                  <a:lnTo>
                    <a:pt x="4" y="8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6" name="Freeform 56"/>
            <p:cNvSpPr>
              <a:spLocks/>
            </p:cNvSpPr>
            <p:nvPr/>
          </p:nvSpPr>
          <p:spPr bwMode="gray">
            <a:xfrm>
              <a:off x="2473" y="2596"/>
              <a:ext cx="98" cy="76"/>
            </a:xfrm>
            <a:custGeom>
              <a:avLst/>
              <a:gdLst>
                <a:gd name="T0" fmla="*/ 0 w 98"/>
                <a:gd name="T1" fmla="*/ 31 h 76"/>
                <a:gd name="T2" fmla="*/ 4 w 98"/>
                <a:gd name="T3" fmla="*/ 40 h 76"/>
                <a:gd name="T4" fmla="*/ 17 w 98"/>
                <a:gd name="T5" fmla="*/ 45 h 76"/>
                <a:gd name="T6" fmla="*/ 17 w 98"/>
                <a:gd name="T7" fmla="*/ 54 h 76"/>
                <a:gd name="T8" fmla="*/ 26 w 98"/>
                <a:gd name="T9" fmla="*/ 49 h 76"/>
                <a:gd name="T10" fmla="*/ 31 w 98"/>
                <a:gd name="T11" fmla="*/ 45 h 76"/>
                <a:gd name="T12" fmla="*/ 49 w 98"/>
                <a:gd name="T13" fmla="*/ 40 h 76"/>
                <a:gd name="T14" fmla="*/ 53 w 98"/>
                <a:gd name="T15" fmla="*/ 45 h 76"/>
                <a:gd name="T16" fmla="*/ 58 w 98"/>
                <a:gd name="T17" fmla="*/ 54 h 76"/>
                <a:gd name="T18" fmla="*/ 58 w 98"/>
                <a:gd name="T19" fmla="*/ 63 h 76"/>
                <a:gd name="T20" fmla="*/ 62 w 98"/>
                <a:gd name="T21" fmla="*/ 63 h 76"/>
                <a:gd name="T22" fmla="*/ 76 w 98"/>
                <a:gd name="T23" fmla="*/ 63 h 76"/>
                <a:gd name="T24" fmla="*/ 76 w 98"/>
                <a:gd name="T25" fmla="*/ 76 h 76"/>
                <a:gd name="T26" fmla="*/ 84 w 98"/>
                <a:gd name="T27" fmla="*/ 76 h 76"/>
                <a:gd name="T28" fmla="*/ 89 w 98"/>
                <a:gd name="T29" fmla="*/ 72 h 76"/>
                <a:gd name="T30" fmla="*/ 89 w 98"/>
                <a:gd name="T31" fmla="*/ 58 h 76"/>
                <a:gd name="T32" fmla="*/ 98 w 98"/>
                <a:gd name="T33" fmla="*/ 58 h 76"/>
                <a:gd name="T34" fmla="*/ 93 w 98"/>
                <a:gd name="T35" fmla="*/ 45 h 76"/>
                <a:gd name="T36" fmla="*/ 98 w 98"/>
                <a:gd name="T37" fmla="*/ 31 h 76"/>
                <a:gd name="T38" fmla="*/ 89 w 98"/>
                <a:gd name="T39" fmla="*/ 27 h 76"/>
                <a:gd name="T40" fmla="*/ 89 w 98"/>
                <a:gd name="T41" fmla="*/ 18 h 76"/>
                <a:gd name="T42" fmla="*/ 84 w 98"/>
                <a:gd name="T43" fmla="*/ 13 h 76"/>
                <a:gd name="T44" fmla="*/ 80 w 98"/>
                <a:gd name="T45" fmla="*/ 0 h 76"/>
                <a:gd name="T46" fmla="*/ 62 w 98"/>
                <a:gd name="T47" fmla="*/ 9 h 76"/>
                <a:gd name="T48" fmla="*/ 53 w 98"/>
                <a:gd name="T49" fmla="*/ 9 h 76"/>
                <a:gd name="T50" fmla="*/ 49 w 98"/>
                <a:gd name="T51" fmla="*/ 13 h 76"/>
                <a:gd name="T52" fmla="*/ 44 w 98"/>
                <a:gd name="T53" fmla="*/ 5 h 76"/>
                <a:gd name="T54" fmla="*/ 17 w 98"/>
                <a:gd name="T55" fmla="*/ 5 h 76"/>
                <a:gd name="T56" fmla="*/ 17 w 98"/>
                <a:gd name="T57" fmla="*/ 13 h 76"/>
                <a:gd name="T58" fmla="*/ 4 w 98"/>
                <a:gd name="T59" fmla="*/ 22 h 76"/>
                <a:gd name="T60" fmla="*/ 0 w 98"/>
                <a:gd name="T61" fmla="*/ 31 h 7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8"/>
                <a:gd name="T94" fmla="*/ 0 h 76"/>
                <a:gd name="T95" fmla="*/ 98 w 98"/>
                <a:gd name="T96" fmla="*/ 76 h 7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8" h="76">
                  <a:moveTo>
                    <a:pt x="0" y="31"/>
                  </a:moveTo>
                  <a:lnTo>
                    <a:pt x="4" y="40"/>
                  </a:lnTo>
                  <a:lnTo>
                    <a:pt x="17" y="45"/>
                  </a:lnTo>
                  <a:lnTo>
                    <a:pt x="17" y="54"/>
                  </a:lnTo>
                  <a:lnTo>
                    <a:pt x="26" y="49"/>
                  </a:lnTo>
                  <a:lnTo>
                    <a:pt x="31" y="45"/>
                  </a:lnTo>
                  <a:lnTo>
                    <a:pt x="49" y="40"/>
                  </a:lnTo>
                  <a:lnTo>
                    <a:pt x="53" y="45"/>
                  </a:lnTo>
                  <a:lnTo>
                    <a:pt x="58" y="54"/>
                  </a:lnTo>
                  <a:lnTo>
                    <a:pt x="58" y="63"/>
                  </a:lnTo>
                  <a:lnTo>
                    <a:pt x="62" y="63"/>
                  </a:lnTo>
                  <a:lnTo>
                    <a:pt x="76" y="63"/>
                  </a:lnTo>
                  <a:lnTo>
                    <a:pt x="76" y="76"/>
                  </a:lnTo>
                  <a:lnTo>
                    <a:pt x="84" y="76"/>
                  </a:lnTo>
                  <a:lnTo>
                    <a:pt x="89" y="72"/>
                  </a:lnTo>
                  <a:lnTo>
                    <a:pt x="89" y="58"/>
                  </a:lnTo>
                  <a:lnTo>
                    <a:pt x="98" y="58"/>
                  </a:lnTo>
                  <a:lnTo>
                    <a:pt x="93" y="45"/>
                  </a:lnTo>
                  <a:lnTo>
                    <a:pt x="98" y="31"/>
                  </a:lnTo>
                  <a:lnTo>
                    <a:pt x="89" y="27"/>
                  </a:lnTo>
                  <a:lnTo>
                    <a:pt x="89" y="18"/>
                  </a:lnTo>
                  <a:lnTo>
                    <a:pt x="84" y="13"/>
                  </a:lnTo>
                  <a:lnTo>
                    <a:pt x="80" y="0"/>
                  </a:lnTo>
                  <a:lnTo>
                    <a:pt x="62" y="9"/>
                  </a:lnTo>
                  <a:lnTo>
                    <a:pt x="53" y="9"/>
                  </a:lnTo>
                  <a:lnTo>
                    <a:pt x="49" y="13"/>
                  </a:lnTo>
                  <a:lnTo>
                    <a:pt x="44" y="5"/>
                  </a:lnTo>
                  <a:lnTo>
                    <a:pt x="17" y="5"/>
                  </a:lnTo>
                  <a:lnTo>
                    <a:pt x="17" y="13"/>
                  </a:lnTo>
                  <a:lnTo>
                    <a:pt x="4" y="22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7" name="Freeform 57"/>
            <p:cNvSpPr>
              <a:spLocks/>
            </p:cNvSpPr>
            <p:nvPr/>
          </p:nvSpPr>
          <p:spPr bwMode="gray">
            <a:xfrm>
              <a:off x="2562" y="2627"/>
              <a:ext cx="85" cy="90"/>
            </a:xfrm>
            <a:custGeom>
              <a:avLst/>
              <a:gdLst>
                <a:gd name="T0" fmla="*/ 0 w 85"/>
                <a:gd name="T1" fmla="*/ 41 h 90"/>
                <a:gd name="T2" fmla="*/ 0 w 85"/>
                <a:gd name="T3" fmla="*/ 54 h 90"/>
                <a:gd name="T4" fmla="*/ 18 w 85"/>
                <a:gd name="T5" fmla="*/ 67 h 90"/>
                <a:gd name="T6" fmla="*/ 13 w 85"/>
                <a:gd name="T7" fmla="*/ 90 h 90"/>
                <a:gd name="T8" fmla="*/ 18 w 85"/>
                <a:gd name="T9" fmla="*/ 90 h 90"/>
                <a:gd name="T10" fmla="*/ 36 w 85"/>
                <a:gd name="T11" fmla="*/ 76 h 90"/>
                <a:gd name="T12" fmla="*/ 58 w 85"/>
                <a:gd name="T13" fmla="*/ 72 h 90"/>
                <a:gd name="T14" fmla="*/ 80 w 85"/>
                <a:gd name="T15" fmla="*/ 76 h 90"/>
                <a:gd name="T16" fmla="*/ 80 w 85"/>
                <a:gd name="T17" fmla="*/ 72 h 90"/>
                <a:gd name="T18" fmla="*/ 76 w 85"/>
                <a:gd name="T19" fmla="*/ 54 h 90"/>
                <a:gd name="T20" fmla="*/ 80 w 85"/>
                <a:gd name="T21" fmla="*/ 41 h 90"/>
                <a:gd name="T22" fmla="*/ 85 w 85"/>
                <a:gd name="T23" fmla="*/ 32 h 90"/>
                <a:gd name="T24" fmla="*/ 80 w 85"/>
                <a:gd name="T25" fmla="*/ 18 h 90"/>
                <a:gd name="T26" fmla="*/ 76 w 85"/>
                <a:gd name="T27" fmla="*/ 14 h 90"/>
                <a:gd name="T28" fmla="*/ 71 w 85"/>
                <a:gd name="T29" fmla="*/ 9 h 90"/>
                <a:gd name="T30" fmla="*/ 58 w 85"/>
                <a:gd name="T31" fmla="*/ 14 h 90"/>
                <a:gd name="T32" fmla="*/ 40 w 85"/>
                <a:gd name="T33" fmla="*/ 0 h 90"/>
                <a:gd name="T34" fmla="*/ 36 w 85"/>
                <a:gd name="T35" fmla="*/ 5 h 90"/>
                <a:gd name="T36" fmla="*/ 31 w 85"/>
                <a:gd name="T37" fmla="*/ 0 h 90"/>
                <a:gd name="T38" fmla="*/ 13 w 85"/>
                <a:gd name="T39" fmla="*/ 5 h 90"/>
                <a:gd name="T40" fmla="*/ 9 w 85"/>
                <a:gd name="T41" fmla="*/ 0 h 90"/>
                <a:gd name="T42" fmla="*/ 4 w 85"/>
                <a:gd name="T43" fmla="*/ 14 h 90"/>
                <a:gd name="T44" fmla="*/ 9 w 85"/>
                <a:gd name="T45" fmla="*/ 27 h 90"/>
                <a:gd name="T46" fmla="*/ 0 w 85"/>
                <a:gd name="T47" fmla="*/ 27 h 90"/>
                <a:gd name="T48" fmla="*/ 0 w 85"/>
                <a:gd name="T49" fmla="*/ 41 h 9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5"/>
                <a:gd name="T76" fmla="*/ 0 h 90"/>
                <a:gd name="T77" fmla="*/ 85 w 85"/>
                <a:gd name="T78" fmla="*/ 90 h 9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5" h="90">
                  <a:moveTo>
                    <a:pt x="0" y="41"/>
                  </a:moveTo>
                  <a:lnTo>
                    <a:pt x="0" y="54"/>
                  </a:lnTo>
                  <a:lnTo>
                    <a:pt x="18" y="67"/>
                  </a:lnTo>
                  <a:lnTo>
                    <a:pt x="13" y="90"/>
                  </a:lnTo>
                  <a:lnTo>
                    <a:pt x="18" y="90"/>
                  </a:lnTo>
                  <a:lnTo>
                    <a:pt x="36" y="76"/>
                  </a:lnTo>
                  <a:lnTo>
                    <a:pt x="58" y="72"/>
                  </a:lnTo>
                  <a:lnTo>
                    <a:pt x="80" y="76"/>
                  </a:lnTo>
                  <a:lnTo>
                    <a:pt x="80" y="72"/>
                  </a:lnTo>
                  <a:lnTo>
                    <a:pt x="76" y="54"/>
                  </a:lnTo>
                  <a:lnTo>
                    <a:pt x="80" y="41"/>
                  </a:lnTo>
                  <a:lnTo>
                    <a:pt x="85" y="32"/>
                  </a:lnTo>
                  <a:lnTo>
                    <a:pt x="80" y="18"/>
                  </a:lnTo>
                  <a:lnTo>
                    <a:pt x="76" y="14"/>
                  </a:lnTo>
                  <a:lnTo>
                    <a:pt x="71" y="9"/>
                  </a:lnTo>
                  <a:lnTo>
                    <a:pt x="58" y="14"/>
                  </a:lnTo>
                  <a:lnTo>
                    <a:pt x="40" y="0"/>
                  </a:lnTo>
                  <a:lnTo>
                    <a:pt x="36" y="5"/>
                  </a:lnTo>
                  <a:lnTo>
                    <a:pt x="31" y="0"/>
                  </a:lnTo>
                  <a:lnTo>
                    <a:pt x="13" y="5"/>
                  </a:lnTo>
                  <a:lnTo>
                    <a:pt x="9" y="0"/>
                  </a:lnTo>
                  <a:lnTo>
                    <a:pt x="4" y="14"/>
                  </a:lnTo>
                  <a:lnTo>
                    <a:pt x="9" y="27"/>
                  </a:lnTo>
                  <a:lnTo>
                    <a:pt x="0" y="27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8" name="Freeform 58"/>
            <p:cNvSpPr>
              <a:spLocks/>
            </p:cNvSpPr>
            <p:nvPr/>
          </p:nvSpPr>
          <p:spPr bwMode="gray">
            <a:xfrm>
              <a:off x="3169" y="2712"/>
              <a:ext cx="121" cy="134"/>
            </a:xfrm>
            <a:custGeom>
              <a:avLst/>
              <a:gdLst>
                <a:gd name="T0" fmla="*/ 0 w 121"/>
                <a:gd name="T1" fmla="*/ 5 h 134"/>
                <a:gd name="T2" fmla="*/ 9 w 121"/>
                <a:gd name="T3" fmla="*/ 14 h 134"/>
                <a:gd name="T4" fmla="*/ 14 w 121"/>
                <a:gd name="T5" fmla="*/ 27 h 134"/>
                <a:gd name="T6" fmla="*/ 9 w 121"/>
                <a:gd name="T7" fmla="*/ 49 h 134"/>
                <a:gd name="T8" fmla="*/ 5 w 121"/>
                <a:gd name="T9" fmla="*/ 63 h 134"/>
                <a:gd name="T10" fmla="*/ 5 w 121"/>
                <a:gd name="T11" fmla="*/ 72 h 134"/>
                <a:gd name="T12" fmla="*/ 9 w 121"/>
                <a:gd name="T13" fmla="*/ 72 h 134"/>
                <a:gd name="T14" fmla="*/ 5 w 121"/>
                <a:gd name="T15" fmla="*/ 76 h 134"/>
                <a:gd name="T16" fmla="*/ 0 w 121"/>
                <a:gd name="T17" fmla="*/ 81 h 134"/>
                <a:gd name="T18" fmla="*/ 41 w 121"/>
                <a:gd name="T19" fmla="*/ 107 h 134"/>
                <a:gd name="T20" fmla="*/ 76 w 121"/>
                <a:gd name="T21" fmla="*/ 134 h 134"/>
                <a:gd name="T22" fmla="*/ 85 w 121"/>
                <a:gd name="T23" fmla="*/ 134 h 134"/>
                <a:gd name="T24" fmla="*/ 90 w 121"/>
                <a:gd name="T25" fmla="*/ 121 h 134"/>
                <a:gd name="T26" fmla="*/ 94 w 121"/>
                <a:gd name="T27" fmla="*/ 121 h 134"/>
                <a:gd name="T28" fmla="*/ 94 w 121"/>
                <a:gd name="T29" fmla="*/ 107 h 134"/>
                <a:gd name="T30" fmla="*/ 103 w 121"/>
                <a:gd name="T31" fmla="*/ 103 h 134"/>
                <a:gd name="T32" fmla="*/ 103 w 121"/>
                <a:gd name="T33" fmla="*/ 99 h 134"/>
                <a:gd name="T34" fmla="*/ 112 w 121"/>
                <a:gd name="T35" fmla="*/ 94 h 134"/>
                <a:gd name="T36" fmla="*/ 108 w 121"/>
                <a:gd name="T37" fmla="*/ 76 h 134"/>
                <a:gd name="T38" fmla="*/ 103 w 121"/>
                <a:gd name="T39" fmla="*/ 23 h 134"/>
                <a:gd name="T40" fmla="*/ 121 w 121"/>
                <a:gd name="T41" fmla="*/ 9 h 134"/>
                <a:gd name="T42" fmla="*/ 108 w 121"/>
                <a:gd name="T43" fmla="*/ 9 h 134"/>
                <a:gd name="T44" fmla="*/ 99 w 121"/>
                <a:gd name="T45" fmla="*/ 5 h 134"/>
                <a:gd name="T46" fmla="*/ 90 w 121"/>
                <a:gd name="T47" fmla="*/ 9 h 134"/>
                <a:gd name="T48" fmla="*/ 85 w 121"/>
                <a:gd name="T49" fmla="*/ 18 h 134"/>
                <a:gd name="T50" fmla="*/ 63 w 121"/>
                <a:gd name="T51" fmla="*/ 14 h 134"/>
                <a:gd name="T52" fmla="*/ 45 w 121"/>
                <a:gd name="T53" fmla="*/ 0 h 134"/>
                <a:gd name="T54" fmla="*/ 32 w 121"/>
                <a:gd name="T55" fmla="*/ 5 h 134"/>
                <a:gd name="T56" fmla="*/ 27 w 121"/>
                <a:gd name="T57" fmla="*/ 0 h 134"/>
                <a:gd name="T58" fmla="*/ 5 w 121"/>
                <a:gd name="T59" fmla="*/ 0 h 134"/>
                <a:gd name="T60" fmla="*/ 0 w 121"/>
                <a:gd name="T61" fmla="*/ 5 h 1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21"/>
                <a:gd name="T94" fmla="*/ 0 h 134"/>
                <a:gd name="T95" fmla="*/ 121 w 121"/>
                <a:gd name="T96" fmla="*/ 134 h 1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21" h="134">
                  <a:moveTo>
                    <a:pt x="0" y="5"/>
                  </a:moveTo>
                  <a:lnTo>
                    <a:pt x="9" y="14"/>
                  </a:lnTo>
                  <a:lnTo>
                    <a:pt x="14" y="27"/>
                  </a:lnTo>
                  <a:lnTo>
                    <a:pt x="9" y="49"/>
                  </a:lnTo>
                  <a:lnTo>
                    <a:pt x="5" y="63"/>
                  </a:lnTo>
                  <a:lnTo>
                    <a:pt x="5" y="72"/>
                  </a:lnTo>
                  <a:lnTo>
                    <a:pt x="9" y="72"/>
                  </a:lnTo>
                  <a:lnTo>
                    <a:pt x="5" y="76"/>
                  </a:lnTo>
                  <a:lnTo>
                    <a:pt x="0" y="81"/>
                  </a:lnTo>
                  <a:lnTo>
                    <a:pt x="41" y="107"/>
                  </a:lnTo>
                  <a:lnTo>
                    <a:pt x="76" y="134"/>
                  </a:lnTo>
                  <a:lnTo>
                    <a:pt x="85" y="134"/>
                  </a:lnTo>
                  <a:lnTo>
                    <a:pt x="90" y="121"/>
                  </a:lnTo>
                  <a:lnTo>
                    <a:pt x="94" y="121"/>
                  </a:lnTo>
                  <a:lnTo>
                    <a:pt x="94" y="107"/>
                  </a:lnTo>
                  <a:lnTo>
                    <a:pt x="103" y="103"/>
                  </a:lnTo>
                  <a:lnTo>
                    <a:pt x="103" y="99"/>
                  </a:lnTo>
                  <a:lnTo>
                    <a:pt x="112" y="94"/>
                  </a:lnTo>
                  <a:lnTo>
                    <a:pt x="108" y="76"/>
                  </a:lnTo>
                  <a:lnTo>
                    <a:pt x="103" y="23"/>
                  </a:lnTo>
                  <a:lnTo>
                    <a:pt x="121" y="9"/>
                  </a:lnTo>
                  <a:lnTo>
                    <a:pt x="108" y="9"/>
                  </a:lnTo>
                  <a:lnTo>
                    <a:pt x="99" y="5"/>
                  </a:lnTo>
                  <a:lnTo>
                    <a:pt x="90" y="9"/>
                  </a:lnTo>
                  <a:lnTo>
                    <a:pt x="85" y="18"/>
                  </a:lnTo>
                  <a:lnTo>
                    <a:pt x="63" y="14"/>
                  </a:lnTo>
                  <a:lnTo>
                    <a:pt x="45" y="0"/>
                  </a:lnTo>
                  <a:lnTo>
                    <a:pt x="32" y="5"/>
                  </a:lnTo>
                  <a:lnTo>
                    <a:pt x="27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79" name="Freeform 59"/>
            <p:cNvSpPr>
              <a:spLocks/>
            </p:cNvSpPr>
            <p:nvPr/>
          </p:nvSpPr>
          <p:spPr bwMode="gray">
            <a:xfrm>
              <a:off x="3071" y="3217"/>
              <a:ext cx="40" cy="31"/>
            </a:xfrm>
            <a:custGeom>
              <a:avLst/>
              <a:gdLst>
                <a:gd name="T0" fmla="*/ 9 w 40"/>
                <a:gd name="T1" fmla="*/ 27 h 31"/>
                <a:gd name="T2" fmla="*/ 14 w 40"/>
                <a:gd name="T3" fmla="*/ 31 h 31"/>
                <a:gd name="T4" fmla="*/ 18 w 40"/>
                <a:gd name="T5" fmla="*/ 27 h 31"/>
                <a:gd name="T6" fmla="*/ 31 w 40"/>
                <a:gd name="T7" fmla="*/ 23 h 31"/>
                <a:gd name="T8" fmla="*/ 40 w 40"/>
                <a:gd name="T9" fmla="*/ 14 h 31"/>
                <a:gd name="T10" fmla="*/ 27 w 40"/>
                <a:gd name="T11" fmla="*/ 0 h 31"/>
                <a:gd name="T12" fmla="*/ 9 w 40"/>
                <a:gd name="T13" fmla="*/ 5 h 31"/>
                <a:gd name="T14" fmla="*/ 0 w 40"/>
                <a:gd name="T15" fmla="*/ 14 h 31"/>
                <a:gd name="T16" fmla="*/ 9 w 40"/>
                <a:gd name="T17" fmla="*/ 2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31"/>
                <a:gd name="T29" fmla="*/ 40 w 40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31">
                  <a:moveTo>
                    <a:pt x="9" y="27"/>
                  </a:moveTo>
                  <a:lnTo>
                    <a:pt x="14" y="31"/>
                  </a:lnTo>
                  <a:lnTo>
                    <a:pt x="18" y="27"/>
                  </a:lnTo>
                  <a:lnTo>
                    <a:pt x="31" y="23"/>
                  </a:lnTo>
                  <a:lnTo>
                    <a:pt x="40" y="14"/>
                  </a:lnTo>
                  <a:lnTo>
                    <a:pt x="27" y="0"/>
                  </a:lnTo>
                  <a:lnTo>
                    <a:pt x="9" y="5"/>
                  </a:lnTo>
                  <a:lnTo>
                    <a:pt x="0" y="14"/>
                  </a:lnTo>
                  <a:lnTo>
                    <a:pt x="9" y="27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0" name="Freeform 60"/>
            <p:cNvSpPr>
              <a:spLocks/>
            </p:cNvSpPr>
            <p:nvPr/>
          </p:nvSpPr>
          <p:spPr bwMode="gray">
            <a:xfrm>
              <a:off x="2517" y="2659"/>
              <a:ext cx="63" cy="58"/>
            </a:xfrm>
            <a:custGeom>
              <a:avLst/>
              <a:gdLst>
                <a:gd name="T0" fmla="*/ 0 w 63"/>
                <a:gd name="T1" fmla="*/ 22 h 58"/>
                <a:gd name="T2" fmla="*/ 9 w 63"/>
                <a:gd name="T3" fmla="*/ 26 h 58"/>
                <a:gd name="T4" fmla="*/ 49 w 63"/>
                <a:gd name="T5" fmla="*/ 58 h 58"/>
                <a:gd name="T6" fmla="*/ 58 w 63"/>
                <a:gd name="T7" fmla="*/ 58 h 58"/>
                <a:gd name="T8" fmla="*/ 63 w 63"/>
                <a:gd name="T9" fmla="*/ 35 h 58"/>
                <a:gd name="T10" fmla="*/ 45 w 63"/>
                <a:gd name="T11" fmla="*/ 22 h 58"/>
                <a:gd name="T12" fmla="*/ 45 w 63"/>
                <a:gd name="T13" fmla="*/ 9 h 58"/>
                <a:gd name="T14" fmla="*/ 40 w 63"/>
                <a:gd name="T15" fmla="*/ 13 h 58"/>
                <a:gd name="T16" fmla="*/ 32 w 63"/>
                <a:gd name="T17" fmla="*/ 13 h 58"/>
                <a:gd name="T18" fmla="*/ 32 w 63"/>
                <a:gd name="T19" fmla="*/ 0 h 58"/>
                <a:gd name="T20" fmla="*/ 18 w 63"/>
                <a:gd name="T21" fmla="*/ 0 h 58"/>
                <a:gd name="T22" fmla="*/ 18 w 63"/>
                <a:gd name="T23" fmla="*/ 9 h 58"/>
                <a:gd name="T24" fmla="*/ 14 w 63"/>
                <a:gd name="T25" fmla="*/ 9 h 58"/>
                <a:gd name="T26" fmla="*/ 14 w 63"/>
                <a:gd name="T27" fmla="*/ 13 h 58"/>
                <a:gd name="T28" fmla="*/ 5 w 63"/>
                <a:gd name="T29" fmla="*/ 17 h 58"/>
                <a:gd name="T30" fmla="*/ 0 w 63"/>
                <a:gd name="T31" fmla="*/ 22 h 5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3"/>
                <a:gd name="T49" fmla="*/ 0 h 58"/>
                <a:gd name="T50" fmla="*/ 63 w 63"/>
                <a:gd name="T51" fmla="*/ 58 h 5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3" h="58">
                  <a:moveTo>
                    <a:pt x="0" y="22"/>
                  </a:moveTo>
                  <a:lnTo>
                    <a:pt x="9" y="26"/>
                  </a:lnTo>
                  <a:lnTo>
                    <a:pt x="49" y="58"/>
                  </a:lnTo>
                  <a:lnTo>
                    <a:pt x="58" y="58"/>
                  </a:lnTo>
                  <a:lnTo>
                    <a:pt x="63" y="35"/>
                  </a:lnTo>
                  <a:lnTo>
                    <a:pt x="45" y="22"/>
                  </a:lnTo>
                  <a:lnTo>
                    <a:pt x="45" y="9"/>
                  </a:lnTo>
                  <a:lnTo>
                    <a:pt x="40" y="13"/>
                  </a:lnTo>
                  <a:lnTo>
                    <a:pt x="32" y="13"/>
                  </a:lnTo>
                  <a:lnTo>
                    <a:pt x="32" y="0"/>
                  </a:lnTo>
                  <a:lnTo>
                    <a:pt x="18" y="0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13"/>
                  </a:lnTo>
                  <a:lnTo>
                    <a:pt x="5" y="17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1" name="Freeform 61"/>
            <p:cNvSpPr>
              <a:spLocks/>
            </p:cNvSpPr>
            <p:nvPr/>
          </p:nvSpPr>
          <p:spPr bwMode="gray">
            <a:xfrm>
              <a:off x="2812" y="2265"/>
              <a:ext cx="232" cy="228"/>
            </a:xfrm>
            <a:custGeom>
              <a:avLst/>
              <a:gdLst>
                <a:gd name="T0" fmla="*/ 40 w 232"/>
                <a:gd name="T1" fmla="*/ 0 h 228"/>
                <a:gd name="T2" fmla="*/ 36 w 232"/>
                <a:gd name="T3" fmla="*/ 5 h 228"/>
                <a:gd name="T4" fmla="*/ 36 w 232"/>
                <a:gd name="T5" fmla="*/ 14 h 228"/>
                <a:gd name="T6" fmla="*/ 27 w 232"/>
                <a:gd name="T7" fmla="*/ 23 h 228"/>
                <a:gd name="T8" fmla="*/ 18 w 232"/>
                <a:gd name="T9" fmla="*/ 27 h 228"/>
                <a:gd name="T10" fmla="*/ 18 w 232"/>
                <a:gd name="T11" fmla="*/ 50 h 228"/>
                <a:gd name="T12" fmla="*/ 5 w 232"/>
                <a:gd name="T13" fmla="*/ 54 h 228"/>
                <a:gd name="T14" fmla="*/ 0 w 232"/>
                <a:gd name="T15" fmla="*/ 58 h 228"/>
                <a:gd name="T16" fmla="*/ 5 w 232"/>
                <a:gd name="T17" fmla="*/ 67 h 228"/>
                <a:gd name="T18" fmla="*/ 5 w 232"/>
                <a:gd name="T19" fmla="*/ 85 h 228"/>
                <a:gd name="T20" fmla="*/ 9 w 232"/>
                <a:gd name="T21" fmla="*/ 99 h 228"/>
                <a:gd name="T22" fmla="*/ 5 w 232"/>
                <a:gd name="T23" fmla="*/ 112 h 228"/>
                <a:gd name="T24" fmla="*/ 0 w 232"/>
                <a:gd name="T25" fmla="*/ 121 h 228"/>
                <a:gd name="T26" fmla="*/ 13 w 232"/>
                <a:gd name="T27" fmla="*/ 139 h 228"/>
                <a:gd name="T28" fmla="*/ 9 w 232"/>
                <a:gd name="T29" fmla="*/ 143 h 228"/>
                <a:gd name="T30" fmla="*/ 18 w 232"/>
                <a:gd name="T31" fmla="*/ 148 h 228"/>
                <a:gd name="T32" fmla="*/ 27 w 232"/>
                <a:gd name="T33" fmla="*/ 148 h 228"/>
                <a:gd name="T34" fmla="*/ 45 w 232"/>
                <a:gd name="T35" fmla="*/ 161 h 228"/>
                <a:gd name="T36" fmla="*/ 45 w 232"/>
                <a:gd name="T37" fmla="*/ 166 h 228"/>
                <a:gd name="T38" fmla="*/ 67 w 232"/>
                <a:gd name="T39" fmla="*/ 166 h 228"/>
                <a:gd name="T40" fmla="*/ 72 w 232"/>
                <a:gd name="T41" fmla="*/ 179 h 228"/>
                <a:gd name="T42" fmla="*/ 85 w 232"/>
                <a:gd name="T43" fmla="*/ 170 h 228"/>
                <a:gd name="T44" fmla="*/ 98 w 232"/>
                <a:gd name="T45" fmla="*/ 161 h 228"/>
                <a:gd name="T46" fmla="*/ 210 w 232"/>
                <a:gd name="T47" fmla="*/ 228 h 228"/>
                <a:gd name="T48" fmla="*/ 210 w 232"/>
                <a:gd name="T49" fmla="*/ 219 h 228"/>
                <a:gd name="T50" fmla="*/ 232 w 232"/>
                <a:gd name="T51" fmla="*/ 219 h 228"/>
                <a:gd name="T52" fmla="*/ 228 w 232"/>
                <a:gd name="T53" fmla="*/ 193 h 228"/>
                <a:gd name="T54" fmla="*/ 228 w 232"/>
                <a:gd name="T55" fmla="*/ 67 h 228"/>
                <a:gd name="T56" fmla="*/ 223 w 232"/>
                <a:gd name="T57" fmla="*/ 58 h 228"/>
                <a:gd name="T58" fmla="*/ 228 w 232"/>
                <a:gd name="T59" fmla="*/ 50 h 228"/>
                <a:gd name="T60" fmla="*/ 223 w 232"/>
                <a:gd name="T61" fmla="*/ 41 h 228"/>
                <a:gd name="T62" fmla="*/ 232 w 232"/>
                <a:gd name="T63" fmla="*/ 27 h 228"/>
                <a:gd name="T64" fmla="*/ 228 w 232"/>
                <a:gd name="T65" fmla="*/ 23 h 228"/>
                <a:gd name="T66" fmla="*/ 197 w 232"/>
                <a:gd name="T67" fmla="*/ 18 h 228"/>
                <a:gd name="T68" fmla="*/ 197 w 232"/>
                <a:gd name="T69" fmla="*/ 9 h 228"/>
                <a:gd name="T70" fmla="*/ 183 w 232"/>
                <a:gd name="T71" fmla="*/ 5 h 228"/>
                <a:gd name="T72" fmla="*/ 174 w 232"/>
                <a:gd name="T73" fmla="*/ 5 h 228"/>
                <a:gd name="T74" fmla="*/ 152 w 232"/>
                <a:gd name="T75" fmla="*/ 18 h 228"/>
                <a:gd name="T76" fmla="*/ 156 w 232"/>
                <a:gd name="T77" fmla="*/ 41 h 228"/>
                <a:gd name="T78" fmla="*/ 147 w 232"/>
                <a:gd name="T79" fmla="*/ 50 h 228"/>
                <a:gd name="T80" fmla="*/ 125 w 232"/>
                <a:gd name="T81" fmla="*/ 41 h 228"/>
                <a:gd name="T82" fmla="*/ 98 w 232"/>
                <a:gd name="T83" fmla="*/ 36 h 228"/>
                <a:gd name="T84" fmla="*/ 94 w 232"/>
                <a:gd name="T85" fmla="*/ 32 h 228"/>
                <a:gd name="T86" fmla="*/ 85 w 232"/>
                <a:gd name="T87" fmla="*/ 14 h 228"/>
                <a:gd name="T88" fmla="*/ 72 w 232"/>
                <a:gd name="T89" fmla="*/ 5 h 228"/>
                <a:gd name="T90" fmla="*/ 49 w 232"/>
                <a:gd name="T91" fmla="*/ 5 h 228"/>
                <a:gd name="T92" fmla="*/ 40 w 232"/>
                <a:gd name="T93" fmla="*/ 0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2"/>
                <a:gd name="T142" fmla="*/ 0 h 228"/>
                <a:gd name="T143" fmla="*/ 232 w 232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2" h="228">
                  <a:moveTo>
                    <a:pt x="40" y="0"/>
                  </a:moveTo>
                  <a:lnTo>
                    <a:pt x="36" y="5"/>
                  </a:lnTo>
                  <a:lnTo>
                    <a:pt x="36" y="14"/>
                  </a:lnTo>
                  <a:lnTo>
                    <a:pt x="27" y="23"/>
                  </a:lnTo>
                  <a:lnTo>
                    <a:pt x="18" y="27"/>
                  </a:lnTo>
                  <a:lnTo>
                    <a:pt x="18" y="50"/>
                  </a:lnTo>
                  <a:lnTo>
                    <a:pt x="5" y="54"/>
                  </a:lnTo>
                  <a:lnTo>
                    <a:pt x="0" y="58"/>
                  </a:lnTo>
                  <a:lnTo>
                    <a:pt x="5" y="67"/>
                  </a:lnTo>
                  <a:lnTo>
                    <a:pt x="5" y="85"/>
                  </a:lnTo>
                  <a:lnTo>
                    <a:pt x="9" y="99"/>
                  </a:lnTo>
                  <a:lnTo>
                    <a:pt x="5" y="112"/>
                  </a:lnTo>
                  <a:lnTo>
                    <a:pt x="0" y="121"/>
                  </a:lnTo>
                  <a:lnTo>
                    <a:pt x="13" y="139"/>
                  </a:lnTo>
                  <a:lnTo>
                    <a:pt x="9" y="143"/>
                  </a:lnTo>
                  <a:lnTo>
                    <a:pt x="18" y="148"/>
                  </a:lnTo>
                  <a:lnTo>
                    <a:pt x="27" y="148"/>
                  </a:lnTo>
                  <a:lnTo>
                    <a:pt x="45" y="161"/>
                  </a:lnTo>
                  <a:lnTo>
                    <a:pt x="45" y="166"/>
                  </a:lnTo>
                  <a:lnTo>
                    <a:pt x="67" y="166"/>
                  </a:lnTo>
                  <a:lnTo>
                    <a:pt x="72" y="179"/>
                  </a:lnTo>
                  <a:lnTo>
                    <a:pt x="85" y="170"/>
                  </a:lnTo>
                  <a:lnTo>
                    <a:pt x="98" y="161"/>
                  </a:lnTo>
                  <a:lnTo>
                    <a:pt x="210" y="228"/>
                  </a:lnTo>
                  <a:lnTo>
                    <a:pt x="210" y="219"/>
                  </a:lnTo>
                  <a:lnTo>
                    <a:pt x="232" y="219"/>
                  </a:lnTo>
                  <a:lnTo>
                    <a:pt x="228" y="193"/>
                  </a:lnTo>
                  <a:lnTo>
                    <a:pt x="228" y="67"/>
                  </a:lnTo>
                  <a:lnTo>
                    <a:pt x="223" y="58"/>
                  </a:lnTo>
                  <a:lnTo>
                    <a:pt x="228" y="50"/>
                  </a:lnTo>
                  <a:lnTo>
                    <a:pt x="223" y="41"/>
                  </a:lnTo>
                  <a:lnTo>
                    <a:pt x="232" y="27"/>
                  </a:lnTo>
                  <a:lnTo>
                    <a:pt x="228" y="23"/>
                  </a:lnTo>
                  <a:lnTo>
                    <a:pt x="197" y="18"/>
                  </a:lnTo>
                  <a:lnTo>
                    <a:pt x="197" y="9"/>
                  </a:lnTo>
                  <a:lnTo>
                    <a:pt x="183" y="5"/>
                  </a:lnTo>
                  <a:lnTo>
                    <a:pt x="174" y="5"/>
                  </a:lnTo>
                  <a:lnTo>
                    <a:pt x="152" y="18"/>
                  </a:lnTo>
                  <a:lnTo>
                    <a:pt x="156" y="41"/>
                  </a:lnTo>
                  <a:lnTo>
                    <a:pt x="147" y="50"/>
                  </a:lnTo>
                  <a:lnTo>
                    <a:pt x="125" y="41"/>
                  </a:lnTo>
                  <a:lnTo>
                    <a:pt x="98" y="36"/>
                  </a:lnTo>
                  <a:lnTo>
                    <a:pt x="94" y="32"/>
                  </a:lnTo>
                  <a:lnTo>
                    <a:pt x="85" y="14"/>
                  </a:lnTo>
                  <a:lnTo>
                    <a:pt x="72" y="5"/>
                  </a:lnTo>
                  <a:lnTo>
                    <a:pt x="49" y="5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2" name="Freeform 62"/>
            <p:cNvSpPr>
              <a:spLocks/>
            </p:cNvSpPr>
            <p:nvPr/>
          </p:nvSpPr>
          <p:spPr bwMode="gray">
            <a:xfrm>
              <a:off x="3303" y="2954"/>
              <a:ext cx="108" cy="219"/>
            </a:xfrm>
            <a:custGeom>
              <a:avLst/>
              <a:gdLst>
                <a:gd name="T0" fmla="*/ 27 w 108"/>
                <a:gd name="T1" fmla="*/ 219 h 219"/>
                <a:gd name="T2" fmla="*/ 41 w 108"/>
                <a:gd name="T3" fmla="*/ 210 h 219"/>
                <a:gd name="T4" fmla="*/ 58 w 108"/>
                <a:gd name="T5" fmla="*/ 205 h 219"/>
                <a:gd name="T6" fmla="*/ 72 w 108"/>
                <a:gd name="T7" fmla="*/ 174 h 219"/>
                <a:gd name="T8" fmla="*/ 76 w 108"/>
                <a:gd name="T9" fmla="*/ 151 h 219"/>
                <a:gd name="T10" fmla="*/ 94 w 108"/>
                <a:gd name="T11" fmla="*/ 93 h 219"/>
                <a:gd name="T12" fmla="*/ 94 w 108"/>
                <a:gd name="T13" fmla="*/ 80 h 219"/>
                <a:gd name="T14" fmla="*/ 99 w 108"/>
                <a:gd name="T15" fmla="*/ 71 h 219"/>
                <a:gd name="T16" fmla="*/ 94 w 108"/>
                <a:gd name="T17" fmla="*/ 58 h 219"/>
                <a:gd name="T18" fmla="*/ 103 w 108"/>
                <a:gd name="T19" fmla="*/ 67 h 219"/>
                <a:gd name="T20" fmla="*/ 108 w 108"/>
                <a:gd name="T21" fmla="*/ 53 h 219"/>
                <a:gd name="T22" fmla="*/ 103 w 108"/>
                <a:gd name="T23" fmla="*/ 35 h 219"/>
                <a:gd name="T24" fmla="*/ 103 w 108"/>
                <a:gd name="T25" fmla="*/ 26 h 219"/>
                <a:gd name="T26" fmla="*/ 90 w 108"/>
                <a:gd name="T27" fmla="*/ 0 h 219"/>
                <a:gd name="T28" fmla="*/ 81 w 108"/>
                <a:gd name="T29" fmla="*/ 8 h 219"/>
                <a:gd name="T30" fmla="*/ 85 w 108"/>
                <a:gd name="T31" fmla="*/ 17 h 219"/>
                <a:gd name="T32" fmla="*/ 76 w 108"/>
                <a:gd name="T33" fmla="*/ 22 h 219"/>
                <a:gd name="T34" fmla="*/ 67 w 108"/>
                <a:gd name="T35" fmla="*/ 22 h 219"/>
                <a:gd name="T36" fmla="*/ 72 w 108"/>
                <a:gd name="T37" fmla="*/ 35 h 219"/>
                <a:gd name="T38" fmla="*/ 54 w 108"/>
                <a:gd name="T39" fmla="*/ 53 h 219"/>
                <a:gd name="T40" fmla="*/ 27 w 108"/>
                <a:gd name="T41" fmla="*/ 67 h 219"/>
                <a:gd name="T42" fmla="*/ 18 w 108"/>
                <a:gd name="T43" fmla="*/ 67 h 219"/>
                <a:gd name="T44" fmla="*/ 18 w 108"/>
                <a:gd name="T45" fmla="*/ 76 h 219"/>
                <a:gd name="T46" fmla="*/ 9 w 108"/>
                <a:gd name="T47" fmla="*/ 84 h 219"/>
                <a:gd name="T48" fmla="*/ 18 w 108"/>
                <a:gd name="T49" fmla="*/ 120 h 219"/>
                <a:gd name="T50" fmla="*/ 9 w 108"/>
                <a:gd name="T51" fmla="*/ 143 h 219"/>
                <a:gd name="T52" fmla="*/ 5 w 108"/>
                <a:gd name="T53" fmla="*/ 147 h 219"/>
                <a:gd name="T54" fmla="*/ 5 w 108"/>
                <a:gd name="T55" fmla="*/ 156 h 219"/>
                <a:gd name="T56" fmla="*/ 0 w 108"/>
                <a:gd name="T57" fmla="*/ 165 h 219"/>
                <a:gd name="T58" fmla="*/ 9 w 108"/>
                <a:gd name="T59" fmla="*/ 183 h 219"/>
                <a:gd name="T60" fmla="*/ 5 w 108"/>
                <a:gd name="T61" fmla="*/ 187 h 219"/>
                <a:gd name="T62" fmla="*/ 9 w 108"/>
                <a:gd name="T63" fmla="*/ 201 h 219"/>
                <a:gd name="T64" fmla="*/ 27 w 108"/>
                <a:gd name="T65" fmla="*/ 219 h 2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8"/>
                <a:gd name="T100" fmla="*/ 0 h 219"/>
                <a:gd name="T101" fmla="*/ 108 w 108"/>
                <a:gd name="T102" fmla="*/ 219 h 2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8" h="219">
                  <a:moveTo>
                    <a:pt x="27" y="219"/>
                  </a:moveTo>
                  <a:lnTo>
                    <a:pt x="41" y="210"/>
                  </a:lnTo>
                  <a:lnTo>
                    <a:pt x="58" y="205"/>
                  </a:lnTo>
                  <a:lnTo>
                    <a:pt x="72" y="174"/>
                  </a:lnTo>
                  <a:lnTo>
                    <a:pt x="76" y="151"/>
                  </a:lnTo>
                  <a:lnTo>
                    <a:pt x="94" y="93"/>
                  </a:lnTo>
                  <a:lnTo>
                    <a:pt x="94" y="80"/>
                  </a:lnTo>
                  <a:lnTo>
                    <a:pt x="99" y="71"/>
                  </a:lnTo>
                  <a:lnTo>
                    <a:pt x="94" y="58"/>
                  </a:lnTo>
                  <a:lnTo>
                    <a:pt x="103" y="67"/>
                  </a:lnTo>
                  <a:lnTo>
                    <a:pt x="108" y="53"/>
                  </a:lnTo>
                  <a:lnTo>
                    <a:pt x="103" y="35"/>
                  </a:lnTo>
                  <a:lnTo>
                    <a:pt x="103" y="26"/>
                  </a:lnTo>
                  <a:lnTo>
                    <a:pt x="90" y="0"/>
                  </a:lnTo>
                  <a:lnTo>
                    <a:pt x="81" y="8"/>
                  </a:lnTo>
                  <a:lnTo>
                    <a:pt x="85" y="17"/>
                  </a:lnTo>
                  <a:lnTo>
                    <a:pt x="76" y="22"/>
                  </a:lnTo>
                  <a:lnTo>
                    <a:pt x="67" y="22"/>
                  </a:lnTo>
                  <a:lnTo>
                    <a:pt x="72" y="35"/>
                  </a:lnTo>
                  <a:lnTo>
                    <a:pt x="54" y="53"/>
                  </a:lnTo>
                  <a:lnTo>
                    <a:pt x="27" y="67"/>
                  </a:lnTo>
                  <a:lnTo>
                    <a:pt x="18" y="67"/>
                  </a:lnTo>
                  <a:lnTo>
                    <a:pt x="18" y="76"/>
                  </a:lnTo>
                  <a:lnTo>
                    <a:pt x="9" y="84"/>
                  </a:lnTo>
                  <a:lnTo>
                    <a:pt x="18" y="120"/>
                  </a:lnTo>
                  <a:lnTo>
                    <a:pt x="9" y="143"/>
                  </a:lnTo>
                  <a:lnTo>
                    <a:pt x="5" y="147"/>
                  </a:lnTo>
                  <a:lnTo>
                    <a:pt x="5" y="156"/>
                  </a:lnTo>
                  <a:lnTo>
                    <a:pt x="0" y="165"/>
                  </a:lnTo>
                  <a:lnTo>
                    <a:pt x="9" y="183"/>
                  </a:lnTo>
                  <a:lnTo>
                    <a:pt x="5" y="187"/>
                  </a:lnTo>
                  <a:lnTo>
                    <a:pt x="9" y="201"/>
                  </a:lnTo>
                  <a:lnTo>
                    <a:pt x="27" y="21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3" name="Freeform 63"/>
            <p:cNvSpPr>
              <a:spLocks/>
            </p:cNvSpPr>
            <p:nvPr/>
          </p:nvSpPr>
          <p:spPr bwMode="gray">
            <a:xfrm>
              <a:off x="3152" y="2913"/>
              <a:ext cx="44" cy="121"/>
            </a:xfrm>
            <a:custGeom>
              <a:avLst/>
              <a:gdLst>
                <a:gd name="T0" fmla="*/ 4 w 44"/>
                <a:gd name="T1" fmla="*/ 5 h 121"/>
                <a:gd name="T2" fmla="*/ 13 w 44"/>
                <a:gd name="T3" fmla="*/ 18 h 121"/>
                <a:gd name="T4" fmla="*/ 13 w 44"/>
                <a:gd name="T5" fmla="*/ 27 h 121"/>
                <a:gd name="T6" fmla="*/ 8 w 44"/>
                <a:gd name="T7" fmla="*/ 27 h 121"/>
                <a:gd name="T8" fmla="*/ 8 w 44"/>
                <a:gd name="T9" fmla="*/ 49 h 121"/>
                <a:gd name="T10" fmla="*/ 4 w 44"/>
                <a:gd name="T11" fmla="*/ 54 h 121"/>
                <a:gd name="T12" fmla="*/ 0 w 44"/>
                <a:gd name="T13" fmla="*/ 67 h 121"/>
                <a:gd name="T14" fmla="*/ 4 w 44"/>
                <a:gd name="T15" fmla="*/ 72 h 121"/>
                <a:gd name="T16" fmla="*/ 13 w 44"/>
                <a:gd name="T17" fmla="*/ 81 h 121"/>
                <a:gd name="T18" fmla="*/ 22 w 44"/>
                <a:gd name="T19" fmla="*/ 81 h 121"/>
                <a:gd name="T20" fmla="*/ 26 w 44"/>
                <a:gd name="T21" fmla="*/ 90 h 121"/>
                <a:gd name="T22" fmla="*/ 22 w 44"/>
                <a:gd name="T23" fmla="*/ 103 h 121"/>
                <a:gd name="T24" fmla="*/ 31 w 44"/>
                <a:gd name="T25" fmla="*/ 121 h 121"/>
                <a:gd name="T26" fmla="*/ 40 w 44"/>
                <a:gd name="T27" fmla="*/ 117 h 121"/>
                <a:gd name="T28" fmla="*/ 35 w 44"/>
                <a:gd name="T29" fmla="*/ 108 h 121"/>
                <a:gd name="T30" fmla="*/ 44 w 44"/>
                <a:gd name="T31" fmla="*/ 103 h 121"/>
                <a:gd name="T32" fmla="*/ 44 w 44"/>
                <a:gd name="T33" fmla="*/ 76 h 121"/>
                <a:gd name="T34" fmla="*/ 35 w 44"/>
                <a:gd name="T35" fmla="*/ 63 h 121"/>
                <a:gd name="T36" fmla="*/ 26 w 44"/>
                <a:gd name="T37" fmla="*/ 58 h 121"/>
                <a:gd name="T38" fmla="*/ 31 w 44"/>
                <a:gd name="T39" fmla="*/ 67 h 121"/>
                <a:gd name="T40" fmla="*/ 31 w 44"/>
                <a:gd name="T41" fmla="*/ 67 h 121"/>
                <a:gd name="T42" fmla="*/ 35 w 44"/>
                <a:gd name="T43" fmla="*/ 81 h 121"/>
                <a:gd name="T44" fmla="*/ 31 w 44"/>
                <a:gd name="T45" fmla="*/ 85 h 121"/>
                <a:gd name="T46" fmla="*/ 31 w 44"/>
                <a:gd name="T47" fmla="*/ 76 h 121"/>
                <a:gd name="T48" fmla="*/ 22 w 44"/>
                <a:gd name="T49" fmla="*/ 72 h 121"/>
                <a:gd name="T50" fmla="*/ 22 w 44"/>
                <a:gd name="T51" fmla="*/ 54 h 121"/>
                <a:gd name="T52" fmla="*/ 13 w 44"/>
                <a:gd name="T53" fmla="*/ 45 h 121"/>
                <a:gd name="T54" fmla="*/ 17 w 44"/>
                <a:gd name="T55" fmla="*/ 41 h 121"/>
                <a:gd name="T56" fmla="*/ 17 w 44"/>
                <a:gd name="T57" fmla="*/ 18 h 121"/>
                <a:gd name="T58" fmla="*/ 17 w 44"/>
                <a:gd name="T59" fmla="*/ 18 h 121"/>
                <a:gd name="T60" fmla="*/ 17 w 44"/>
                <a:gd name="T61" fmla="*/ 9 h 121"/>
                <a:gd name="T62" fmla="*/ 8 w 44"/>
                <a:gd name="T63" fmla="*/ 0 h 121"/>
                <a:gd name="T64" fmla="*/ 4 w 44"/>
                <a:gd name="T65" fmla="*/ 5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4"/>
                <a:gd name="T100" fmla="*/ 0 h 121"/>
                <a:gd name="T101" fmla="*/ 44 w 44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4" h="121">
                  <a:moveTo>
                    <a:pt x="4" y="5"/>
                  </a:moveTo>
                  <a:lnTo>
                    <a:pt x="13" y="18"/>
                  </a:lnTo>
                  <a:lnTo>
                    <a:pt x="13" y="27"/>
                  </a:lnTo>
                  <a:lnTo>
                    <a:pt x="8" y="27"/>
                  </a:lnTo>
                  <a:lnTo>
                    <a:pt x="8" y="49"/>
                  </a:lnTo>
                  <a:lnTo>
                    <a:pt x="4" y="54"/>
                  </a:lnTo>
                  <a:lnTo>
                    <a:pt x="0" y="67"/>
                  </a:lnTo>
                  <a:lnTo>
                    <a:pt x="4" y="72"/>
                  </a:lnTo>
                  <a:lnTo>
                    <a:pt x="13" y="81"/>
                  </a:lnTo>
                  <a:lnTo>
                    <a:pt x="22" y="81"/>
                  </a:lnTo>
                  <a:lnTo>
                    <a:pt x="26" y="90"/>
                  </a:lnTo>
                  <a:lnTo>
                    <a:pt x="22" y="103"/>
                  </a:lnTo>
                  <a:lnTo>
                    <a:pt x="31" y="121"/>
                  </a:lnTo>
                  <a:lnTo>
                    <a:pt x="40" y="117"/>
                  </a:lnTo>
                  <a:lnTo>
                    <a:pt x="35" y="108"/>
                  </a:lnTo>
                  <a:lnTo>
                    <a:pt x="44" y="103"/>
                  </a:lnTo>
                  <a:lnTo>
                    <a:pt x="44" y="76"/>
                  </a:lnTo>
                  <a:lnTo>
                    <a:pt x="35" y="63"/>
                  </a:lnTo>
                  <a:lnTo>
                    <a:pt x="26" y="58"/>
                  </a:lnTo>
                  <a:lnTo>
                    <a:pt x="31" y="67"/>
                  </a:lnTo>
                  <a:lnTo>
                    <a:pt x="35" y="81"/>
                  </a:lnTo>
                  <a:lnTo>
                    <a:pt x="31" y="85"/>
                  </a:lnTo>
                  <a:lnTo>
                    <a:pt x="31" y="76"/>
                  </a:lnTo>
                  <a:lnTo>
                    <a:pt x="22" y="72"/>
                  </a:lnTo>
                  <a:lnTo>
                    <a:pt x="22" y="54"/>
                  </a:lnTo>
                  <a:lnTo>
                    <a:pt x="13" y="45"/>
                  </a:lnTo>
                  <a:lnTo>
                    <a:pt x="17" y="41"/>
                  </a:lnTo>
                  <a:lnTo>
                    <a:pt x="17" y="18"/>
                  </a:lnTo>
                  <a:lnTo>
                    <a:pt x="17" y="9"/>
                  </a:lnTo>
                  <a:lnTo>
                    <a:pt x="8" y="0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4" name="Freeform 64"/>
            <p:cNvSpPr>
              <a:spLocks/>
            </p:cNvSpPr>
            <p:nvPr/>
          </p:nvSpPr>
          <p:spPr bwMode="gray">
            <a:xfrm>
              <a:off x="2508" y="2408"/>
              <a:ext cx="237" cy="224"/>
            </a:xfrm>
            <a:custGeom>
              <a:avLst/>
              <a:gdLst>
                <a:gd name="T0" fmla="*/ 5 w 237"/>
                <a:gd name="T1" fmla="*/ 152 h 224"/>
                <a:gd name="T2" fmla="*/ 0 w 237"/>
                <a:gd name="T3" fmla="*/ 161 h 224"/>
                <a:gd name="T4" fmla="*/ 5 w 237"/>
                <a:gd name="T5" fmla="*/ 175 h 224"/>
                <a:gd name="T6" fmla="*/ 14 w 237"/>
                <a:gd name="T7" fmla="*/ 184 h 224"/>
                <a:gd name="T8" fmla="*/ 18 w 237"/>
                <a:gd name="T9" fmla="*/ 197 h 224"/>
                <a:gd name="T10" fmla="*/ 27 w 237"/>
                <a:gd name="T11" fmla="*/ 197 h 224"/>
                <a:gd name="T12" fmla="*/ 45 w 237"/>
                <a:gd name="T13" fmla="*/ 188 h 224"/>
                <a:gd name="T14" fmla="*/ 49 w 237"/>
                <a:gd name="T15" fmla="*/ 201 h 224"/>
                <a:gd name="T16" fmla="*/ 54 w 237"/>
                <a:gd name="T17" fmla="*/ 206 h 224"/>
                <a:gd name="T18" fmla="*/ 54 w 237"/>
                <a:gd name="T19" fmla="*/ 215 h 224"/>
                <a:gd name="T20" fmla="*/ 63 w 237"/>
                <a:gd name="T21" fmla="*/ 219 h 224"/>
                <a:gd name="T22" fmla="*/ 67 w 237"/>
                <a:gd name="T23" fmla="*/ 224 h 224"/>
                <a:gd name="T24" fmla="*/ 85 w 237"/>
                <a:gd name="T25" fmla="*/ 219 h 224"/>
                <a:gd name="T26" fmla="*/ 90 w 237"/>
                <a:gd name="T27" fmla="*/ 224 h 224"/>
                <a:gd name="T28" fmla="*/ 94 w 237"/>
                <a:gd name="T29" fmla="*/ 219 h 224"/>
                <a:gd name="T30" fmla="*/ 103 w 237"/>
                <a:gd name="T31" fmla="*/ 193 h 224"/>
                <a:gd name="T32" fmla="*/ 112 w 237"/>
                <a:gd name="T33" fmla="*/ 188 h 224"/>
                <a:gd name="T34" fmla="*/ 116 w 237"/>
                <a:gd name="T35" fmla="*/ 170 h 224"/>
                <a:gd name="T36" fmla="*/ 125 w 237"/>
                <a:gd name="T37" fmla="*/ 175 h 224"/>
                <a:gd name="T38" fmla="*/ 161 w 237"/>
                <a:gd name="T39" fmla="*/ 148 h 224"/>
                <a:gd name="T40" fmla="*/ 179 w 237"/>
                <a:gd name="T41" fmla="*/ 152 h 224"/>
                <a:gd name="T42" fmla="*/ 188 w 237"/>
                <a:gd name="T43" fmla="*/ 152 h 224"/>
                <a:gd name="T44" fmla="*/ 192 w 237"/>
                <a:gd name="T45" fmla="*/ 143 h 224"/>
                <a:gd name="T46" fmla="*/ 201 w 237"/>
                <a:gd name="T47" fmla="*/ 143 h 224"/>
                <a:gd name="T48" fmla="*/ 228 w 237"/>
                <a:gd name="T49" fmla="*/ 143 h 224"/>
                <a:gd name="T50" fmla="*/ 237 w 237"/>
                <a:gd name="T51" fmla="*/ 134 h 224"/>
                <a:gd name="T52" fmla="*/ 237 w 237"/>
                <a:gd name="T53" fmla="*/ 121 h 224"/>
                <a:gd name="T54" fmla="*/ 237 w 237"/>
                <a:gd name="T55" fmla="*/ 85 h 224"/>
                <a:gd name="T56" fmla="*/ 224 w 237"/>
                <a:gd name="T57" fmla="*/ 94 h 224"/>
                <a:gd name="T58" fmla="*/ 219 w 237"/>
                <a:gd name="T59" fmla="*/ 90 h 224"/>
                <a:gd name="T60" fmla="*/ 224 w 237"/>
                <a:gd name="T61" fmla="*/ 76 h 224"/>
                <a:gd name="T62" fmla="*/ 210 w 237"/>
                <a:gd name="T63" fmla="*/ 72 h 224"/>
                <a:gd name="T64" fmla="*/ 206 w 237"/>
                <a:gd name="T65" fmla="*/ 76 h 224"/>
                <a:gd name="T66" fmla="*/ 201 w 237"/>
                <a:gd name="T67" fmla="*/ 67 h 224"/>
                <a:gd name="T68" fmla="*/ 188 w 237"/>
                <a:gd name="T69" fmla="*/ 67 h 224"/>
                <a:gd name="T70" fmla="*/ 188 w 237"/>
                <a:gd name="T71" fmla="*/ 58 h 224"/>
                <a:gd name="T72" fmla="*/ 103 w 237"/>
                <a:gd name="T73" fmla="*/ 0 h 224"/>
                <a:gd name="T74" fmla="*/ 85 w 237"/>
                <a:gd name="T75" fmla="*/ 0 h 224"/>
                <a:gd name="T76" fmla="*/ 94 w 237"/>
                <a:gd name="T77" fmla="*/ 130 h 224"/>
                <a:gd name="T78" fmla="*/ 99 w 237"/>
                <a:gd name="T79" fmla="*/ 134 h 224"/>
                <a:gd name="T80" fmla="*/ 99 w 237"/>
                <a:gd name="T81" fmla="*/ 139 h 224"/>
                <a:gd name="T82" fmla="*/ 45 w 237"/>
                <a:gd name="T83" fmla="*/ 143 h 224"/>
                <a:gd name="T84" fmla="*/ 41 w 237"/>
                <a:gd name="T85" fmla="*/ 134 h 224"/>
                <a:gd name="T86" fmla="*/ 32 w 237"/>
                <a:gd name="T87" fmla="*/ 143 h 224"/>
                <a:gd name="T88" fmla="*/ 23 w 237"/>
                <a:gd name="T89" fmla="*/ 139 h 224"/>
                <a:gd name="T90" fmla="*/ 18 w 237"/>
                <a:gd name="T91" fmla="*/ 148 h 224"/>
                <a:gd name="T92" fmla="*/ 14 w 237"/>
                <a:gd name="T93" fmla="*/ 134 h 224"/>
                <a:gd name="T94" fmla="*/ 9 w 237"/>
                <a:gd name="T95" fmla="*/ 139 h 224"/>
                <a:gd name="T96" fmla="*/ 14 w 237"/>
                <a:gd name="T97" fmla="*/ 152 h 224"/>
                <a:gd name="T98" fmla="*/ 5 w 237"/>
                <a:gd name="T99" fmla="*/ 152 h 22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37"/>
                <a:gd name="T151" fmla="*/ 0 h 224"/>
                <a:gd name="T152" fmla="*/ 237 w 237"/>
                <a:gd name="T153" fmla="*/ 224 h 22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37" h="224">
                  <a:moveTo>
                    <a:pt x="5" y="152"/>
                  </a:moveTo>
                  <a:lnTo>
                    <a:pt x="0" y="161"/>
                  </a:lnTo>
                  <a:lnTo>
                    <a:pt x="5" y="175"/>
                  </a:lnTo>
                  <a:lnTo>
                    <a:pt x="14" y="184"/>
                  </a:lnTo>
                  <a:lnTo>
                    <a:pt x="18" y="197"/>
                  </a:lnTo>
                  <a:lnTo>
                    <a:pt x="27" y="197"/>
                  </a:lnTo>
                  <a:lnTo>
                    <a:pt x="45" y="188"/>
                  </a:lnTo>
                  <a:lnTo>
                    <a:pt x="49" y="201"/>
                  </a:lnTo>
                  <a:lnTo>
                    <a:pt x="54" y="206"/>
                  </a:lnTo>
                  <a:lnTo>
                    <a:pt x="54" y="215"/>
                  </a:lnTo>
                  <a:lnTo>
                    <a:pt x="63" y="219"/>
                  </a:lnTo>
                  <a:lnTo>
                    <a:pt x="67" y="224"/>
                  </a:lnTo>
                  <a:lnTo>
                    <a:pt x="85" y="219"/>
                  </a:lnTo>
                  <a:lnTo>
                    <a:pt x="90" y="224"/>
                  </a:lnTo>
                  <a:lnTo>
                    <a:pt x="94" y="219"/>
                  </a:lnTo>
                  <a:lnTo>
                    <a:pt x="103" y="193"/>
                  </a:lnTo>
                  <a:lnTo>
                    <a:pt x="112" y="188"/>
                  </a:lnTo>
                  <a:lnTo>
                    <a:pt x="116" y="170"/>
                  </a:lnTo>
                  <a:lnTo>
                    <a:pt x="125" y="175"/>
                  </a:lnTo>
                  <a:lnTo>
                    <a:pt x="161" y="148"/>
                  </a:lnTo>
                  <a:lnTo>
                    <a:pt x="179" y="152"/>
                  </a:lnTo>
                  <a:lnTo>
                    <a:pt x="188" y="152"/>
                  </a:lnTo>
                  <a:lnTo>
                    <a:pt x="192" y="143"/>
                  </a:lnTo>
                  <a:lnTo>
                    <a:pt x="201" y="143"/>
                  </a:lnTo>
                  <a:lnTo>
                    <a:pt x="228" y="143"/>
                  </a:lnTo>
                  <a:lnTo>
                    <a:pt x="237" y="134"/>
                  </a:lnTo>
                  <a:lnTo>
                    <a:pt x="237" y="121"/>
                  </a:lnTo>
                  <a:lnTo>
                    <a:pt x="237" y="85"/>
                  </a:lnTo>
                  <a:lnTo>
                    <a:pt x="224" y="94"/>
                  </a:lnTo>
                  <a:lnTo>
                    <a:pt x="219" y="90"/>
                  </a:lnTo>
                  <a:lnTo>
                    <a:pt x="224" y="76"/>
                  </a:lnTo>
                  <a:lnTo>
                    <a:pt x="210" y="72"/>
                  </a:lnTo>
                  <a:lnTo>
                    <a:pt x="206" y="76"/>
                  </a:lnTo>
                  <a:lnTo>
                    <a:pt x="201" y="67"/>
                  </a:lnTo>
                  <a:lnTo>
                    <a:pt x="188" y="67"/>
                  </a:lnTo>
                  <a:lnTo>
                    <a:pt x="188" y="58"/>
                  </a:lnTo>
                  <a:lnTo>
                    <a:pt x="103" y="0"/>
                  </a:lnTo>
                  <a:lnTo>
                    <a:pt x="85" y="0"/>
                  </a:lnTo>
                  <a:lnTo>
                    <a:pt x="94" y="130"/>
                  </a:lnTo>
                  <a:lnTo>
                    <a:pt x="99" y="134"/>
                  </a:lnTo>
                  <a:lnTo>
                    <a:pt x="99" y="139"/>
                  </a:lnTo>
                  <a:lnTo>
                    <a:pt x="45" y="143"/>
                  </a:lnTo>
                  <a:lnTo>
                    <a:pt x="41" y="134"/>
                  </a:lnTo>
                  <a:lnTo>
                    <a:pt x="32" y="143"/>
                  </a:lnTo>
                  <a:lnTo>
                    <a:pt x="23" y="139"/>
                  </a:lnTo>
                  <a:lnTo>
                    <a:pt x="18" y="148"/>
                  </a:lnTo>
                  <a:lnTo>
                    <a:pt x="14" y="134"/>
                  </a:lnTo>
                  <a:lnTo>
                    <a:pt x="9" y="139"/>
                  </a:lnTo>
                  <a:lnTo>
                    <a:pt x="14" y="152"/>
                  </a:lnTo>
                  <a:lnTo>
                    <a:pt x="5" y="15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5" name="Freeform 65"/>
            <p:cNvSpPr>
              <a:spLocks noEditPoints="1"/>
            </p:cNvSpPr>
            <p:nvPr/>
          </p:nvSpPr>
          <p:spPr bwMode="gray">
            <a:xfrm>
              <a:off x="2879" y="2216"/>
              <a:ext cx="9" cy="9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0 h 9"/>
                <a:gd name="T4" fmla="*/ 0 w 9"/>
                <a:gd name="T5" fmla="*/ 0 h 9"/>
                <a:gd name="T6" fmla="*/ 0 w 9"/>
                <a:gd name="T7" fmla="*/ 0 h 9"/>
                <a:gd name="T8" fmla="*/ 5 w 9"/>
                <a:gd name="T9" fmla="*/ 5 h 9"/>
                <a:gd name="T10" fmla="*/ 0 w 9"/>
                <a:gd name="T11" fmla="*/ 5 h 9"/>
                <a:gd name="T12" fmla="*/ 5 w 9"/>
                <a:gd name="T13" fmla="*/ 9 h 9"/>
                <a:gd name="T14" fmla="*/ 9 w 9"/>
                <a:gd name="T15" fmla="*/ 9 h 9"/>
                <a:gd name="T16" fmla="*/ 5 w 9"/>
                <a:gd name="T17" fmla="*/ 5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5" y="5"/>
                  </a:moveTo>
                  <a:lnTo>
                    <a:pt x="0" y="5"/>
                  </a:lnTo>
                  <a:lnTo>
                    <a:pt x="5" y="9"/>
                  </a:lnTo>
                  <a:lnTo>
                    <a:pt x="9" y="9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6" name="Freeform 66"/>
            <p:cNvSpPr>
              <a:spLocks/>
            </p:cNvSpPr>
            <p:nvPr/>
          </p:nvSpPr>
          <p:spPr bwMode="gray">
            <a:xfrm>
              <a:off x="2441" y="2373"/>
              <a:ext cx="170" cy="187"/>
            </a:xfrm>
            <a:custGeom>
              <a:avLst/>
              <a:gdLst>
                <a:gd name="T0" fmla="*/ 0 w 170"/>
                <a:gd name="T1" fmla="*/ 89 h 187"/>
                <a:gd name="T2" fmla="*/ 5 w 170"/>
                <a:gd name="T3" fmla="*/ 98 h 187"/>
                <a:gd name="T4" fmla="*/ 9 w 170"/>
                <a:gd name="T5" fmla="*/ 98 h 187"/>
                <a:gd name="T6" fmla="*/ 9 w 170"/>
                <a:gd name="T7" fmla="*/ 107 h 187"/>
                <a:gd name="T8" fmla="*/ 5 w 170"/>
                <a:gd name="T9" fmla="*/ 120 h 187"/>
                <a:gd name="T10" fmla="*/ 14 w 170"/>
                <a:gd name="T11" fmla="*/ 125 h 187"/>
                <a:gd name="T12" fmla="*/ 9 w 170"/>
                <a:gd name="T13" fmla="*/ 147 h 187"/>
                <a:gd name="T14" fmla="*/ 14 w 170"/>
                <a:gd name="T15" fmla="*/ 152 h 187"/>
                <a:gd name="T16" fmla="*/ 9 w 170"/>
                <a:gd name="T17" fmla="*/ 160 h 187"/>
                <a:gd name="T18" fmla="*/ 9 w 170"/>
                <a:gd name="T19" fmla="*/ 169 h 187"/>
                <a:gd name="T20" fmla="*/ 14 w 170"/>
                <a:gd name="T21" fmla="*/ 165 h 187"/>
                <a:gd name="T22" fmla="*/ 41 w 170"/>
                <a:gd name="T23" fmla="*/ 160 h 187"/>
                <a:gd name="T24" fmla="*/ 45 w 170"/>
                <a:gd name="T25" fmla="*/ 169 h 187"/>
                <a:gd name="T26" fmla="*/ 54 w 170"/>
                <a:gd name="T27" fmla="*/ 169 h 187"/>
                <a:gd name="T28" fmla="*/ 72 w 170"/>
                <a:gd name="T29" fmla="*/ 187 h 187"/>
                <a:gd name="T30" fmla="*/ 81 w 170"/>
                <a:gd name="T31" fmla="*/ 187 h 187"/>
                <a:gd name="T32" fmla="*/ 76 w 170"/>
                <a:gd name="T33" fmla="*/ 174 h 187"/>
                <a:gd name="T34" fmla="*/ 81 w 170"/>
                <a:gd name="T35" fmla="*/ 169 h 187"/>
                <a:gd name="T36" fmla="*/ 85 w 170"/>
                <a:gd name="T37" fmla="*/ 183 h 187"/>
                <a:gd name="T38" fmla="*/ 90 w 170"/>
                <a:gd name="T39" fmla="*/ 174 h 187"/>
                <a:gd name="T40" fmla="*/ 99 w 170"/>
                <a:gd name="T41" fmla="*/ 178 h 187"/>
                <a:gd name="T42" fmla="*/ 108 w 170"/>
                <a:gd name="T43" fmla="*/ 169 h 187"/>
                <a:gd name="T44" fmla="*/ 112 w 170"/>
                <a:gd name="T45" fmla="*/ 178 h 187"/>
                <a:gd name="T46" fmla="*/ 166 w 170"/>
                <a:gd name="T47" fmla="*/ 174 h 187"/>
                <a:gd name="T48" fmla="*/ 166 w 170"/>
                <a:gd name="T49" fmla="*/ 169 h 187"/>
                <a:gd name="T50" fmla="*/ 161 w 170"/>
                <a:gd name="T51" fmla="*/ 165 h 187"/>
                <a:gd name="T52" fmla="*/ 152 w 170"/>
                <a:gd name="T53" fmla="*/ 35 h 187"/>
                <a:gd name="T54" fmla="*/ 170 w 170"/>
                <a:gd name="T55" fmla="*/ 35 h 187"/>
                <a:gd name="T56" fmla="*/ 116 w 170"/>
                <a:gd name="T57" fmla="*/ 0 h 187"/>
                <a:gd name="T58" fmla="*/ 116 w 170"/>
                <a:gd name="T59" fmla="*/ 17 h 187"/>
                <a:gd name="T60" fmla="*/ 72 w 170"/>
                <a:gd name="T61" fmla="*/ 17 h 187"/>
                <a:gd name="T62" fmla="*/ 67 w 170"/>
                <a:gd name="T63" fmla="*/ 58 h 187"/>
                <a:gd name="T64" fmla="*/ 58 w 170"/>
                <a:gd name="T65" fmla="*/ 58 h 187"/>
                <a:gd name="T66" fmla="*/ 54 w 170"/>
                <a:gd name="T67" fmla="*/ 62 h 187"/>
                <a:gd name="T68" fmla="*/ 54 w 170"/>
                <a:gd name="T69" fmla="*/ 89 h 187"/>
                <a:gd name="T70" fmla="*/ 5 w 170"/>
                <a:gd name="T71" fmla="*/ 93 h 187"/>
                <a:gd name="T72" fmla="*/ 0 w 170"/>
                <a:gd name="T73" fmla="*/ 89 h 18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0"/>
                <a:gd name="T112" fmla="*/ 0 h 187"/>
                <a:gd name="T113" fmla="*/ 170 w 170"/>
                <a:gd name="T114" fmla="*/ 187 h 18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0" h="187">
                  <a:moveTo>
                    <a:pt x="0" y="89"/>
                  </a:moveTo>
                  <a:lnTo>
                    <a:pt x="5" y="98"/>
                  </a:lnTo>
                  <a:lnTo>
                    <a:pt x="9" y="98"/>
                  </a:lnTo>
                  <a:lnTo>
                    <a:pt x="9" y="107"/>
                  </a:lnTo>
                  <a:lnTo>
                    <a:pt x="5" y="120"/>
                  </a:lnTo>
                  <a:lnTo>
                    <a:pt x="14" y="125"/>
                  </a:lnTo>
                  <a:lnTo>
                    <a:pt x="9" y="147"/>
                  </a:lnTo>
                  <a:lnTo>
                    <a:pt x="14" y="152"/>
                  </a:lnTo>
                  <a:lnTo>
                    <a:pt x="9" y="160"/>
                  </a:lnTo>
                  <a:lnTo>
                    <a:pt x="9" y="169"/>
                  </a:lnTo>
                  <a:lnTo>
                    <a:pt x="14" y="165"/>
                  </a:lnTo>
                  <a:lnTo>
                    <a:pt x="41" y="160"/>
                  </a:lnTo>
                  <a:lnTo>
                    <a:pt x="45" y="169"/>
                  </a:lnTo>
                  <a:lnTo>
                    <a:pt x="54" y="169"/>
                  </a:lnTo>
                  <a:lnTo>
                    <a:pt x="72" y="187"/>
                  </a:lnTo>
                  <a:lnTo>
                    <a:pt x="81" y="187"/>
                  </a:lnTo>
                  <a:lnTo>
                    <a:pt x="76" y="174"/>
                  </a:lnTo>
                  <a:lnTo>
                    <a:pt x="81" y="169"/>
                  </a:lnTo>
                  <a:lnTo>
                    <a:pt x="85" y="183"/>
                  </a:lnTo>
                  <a:lnTo>
                    <a:pt x="90" y="174"/>
                  </a:lnTo>
                  <a:lnTo>
                    <a:pt x="99" y="178"/>
                  </a:lnTo>
                  <a:lnTo>
                    <a:pt x="108" y="169"/>
                  </a:lnTo>
                  <a:lnTo>
                    <a:pt x="112" y="178"/>
                  </a:lnTo>
                  <a:lnTo>
                    <a:pt x="166" y="174"/>
                  </a:lnTo>
                  <a:lnTo>
                    <a:pt x="166" y="169"/>
                  </a:lnTo>
                  <a:lnTo>
                    <a:pt x="161" y="165"/>
                  </a:lnTo>
                  <a:lnTo>
                    <a:pt x="152" y="35"/>
                  </a:lnTo>
                  <a:lnTo>
                    <a:pt x="170" y="35"/>
                  </a:lnTo>
                  <a:lnTo>
                    <a:pt x="116" y="0"/>
                  </a:lnTo>
                  <a:lnTo>
                    <a:pt x="116" y="17"/>
                  </a:lnTo>
                  <a:lnTo>
                    <a:pt x="72" y="17"/>
                  </a:lnTo>
                  <a:lnTo>
                    <a:pt x="67" y="58"/>
                  </a:lnTo>
                  <a:lnTo>
                    <a:pt x="58" y="58"/>
                  </a:lnTo>
                  <a:lnTo>
                    <a:pt x="54" y="62"/>
                  </a:lnTo>
                  <a:lnTo>
                    <a:pt x="54" y="89"/>
                  </a:lnTo>
                  <a:lnTo>
                    <a:pt x="5" y="9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7" name="Freeform 67"/>
            <p:cNvSpPr>
              <a:spLocks/>
            </p:cNvSpPr>
            <p:nvPr/>
          </p:nvSpPr>
          <p:spPr bwMode="gray">
            <a:xfrm>
              <a:off x="3509" y="3079"/>
              <a:ext cx="9" cy="13"/>
            </a:xfrm>
            <a:custGeom>
              <a:avLst/>
              <a:gdLst>
                <a:gd name="T0" fmla="*/ 0 w 9"/>
                <a:gd name="T1" fmla="*/ 13 h 13"/>
                <a:gd name="T2" fmla="*/ 9 w 9"/>
                <a:gd name="T3" fmla="*/ 4 h 13"/>
                <a:gd name="T4" fmla="*/ 4 w 9"/>
                <a:gd name="T5" fmla="*/ 0 h 13"/>
                <a:gd name="T6" fmla="*/ 0 w 9"/>
                <a:gd name="T7" fmla="*/ 0 h 13"/>
                <a:gd name="T8" fmla="*/ 0 w 9"/>
                <a:gd name="T9" fmla="*/ 4 h 13"/>
                <a:gd name="T10" fmla="*/ 0 w 9"/>
                <a:gd name="T11" fmla="*/ 13 h 13"/>
                <a:gd name="T12" fmla="*/ 0 w 9"/>
                <a:gd name="T13" fmla="*/ 13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3"/>
                <a:gd name="T23" fmla="*/ 9 w 9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3">
                  <a:moveTo>
                    <a:pt x="0" y="13"/>
                  </a:moveTo>
                  <a:lnTo>
                    <a:pt x="9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8" name="Freeform 68"/>
            <p:cNvSpPr>
              <a:spLocks/>
            </p:cNvSpPr>
            <p:nvPr/>
          </p:nvSpPr>
          <p:spPr bwMode="gray">
            <a:xfrm>
              <a:off x="2495" y="2221"/>
              <a:ext cx="174" cy="143"/>
            </a:xfrm>
            <a:custGeom>
              <a:avLst/>
              <a:gdLst>
                <a:gd name="T0" fmla="*/ 0 w 174"/>
                <a:gd name="T1" fmla="*/ 138 h 143"/>
                <a:gd name="T2" fmla="*/ 62 w 174"/>
                <a:gd name="T3" fmla="*/ 143 h 143"/>
                <a:gd name="T4" fmla="*/ 67 w 174"/>
                <a:gd name="T5" fmla="*/ 129 h 143"/>
                <a:gd name="T6" fmla="*/ 76 w 174"/>
                <a:gd name="T7" fmla="*/ 116 h 143"/>
                <a:gd name="T8" fmla="*/ 94 w 174"/>
                <a:gd name="T9" fmla="*/ 111 h 143"/>
                <a:gd name="T10" fmla="*/ 103 w 174"/>
                <a:gd name="T11" fmla="*/ 111 h 143"/>
                <a:gd name="T12" fmla="*/ 143 w 174"/>
                <a:gd name="T13" fmla="*/ 80 h 143"/>
                <a:gd name="T14" fmla="*/ 152 w 174"/>
                <a:gd name="T15" fmla="*/ 67 h 143"/>
                <a:gd name="T16" fmla="*/ 170 w 174"/>
                <a:gd name="T17" fmla="*/ 71 h 143"/>
                <a:gd name="T18" fmla="*/ 174 w 174"/>
                <a:gd name="T19" fmla="*/ 62 h 143"/>
                <a:gd name="T20" fmla="*/ 165 w 174"/>
                <a:gd name="T21" fmla="*/ 58 h 143"/>
                <a:gd name="T22" fmla="*/ 161 w 174"/>
                <a:gd name="T23" fmla="*/ 40 h 143"/>
                <a:gd name="T24" fmla="*/ 161 w 174"/>
                <a:gd name="T25" fmla="*/ 26 h 143"/>
                <a:gd name="T26" fmla="*/ 156 w 174"/>
                <a:gd name="T27" fmla="*/ 13 h 143"/>
                <a:gd name="T28" fmla="*/ 147 w 174"/>
                <a:gd name="T29" fmla="*/ 9 h 143"/>
                <a:gd name="T30" fmla="*/ 147 w 174"/>
                <a:gd name="T31" fmla="*/ 4 h 143"/>
                <a:gd name="T32" fmla="*/ 138 w 174"/>
                <a:gd name="T33" fmla="*/ 9 h 143"/>
                <a:gd name="T34" fmla="*/ 129 w 174"/>
                <a:gd name="T35" fmla="*/ 9 h 143"/>
                <a:gd name="T36" fmla="*/ 116 w 174"/>
                <a:gd name="T37" fmla="*/ 4 h 143"/>
                <a:gd name="T38" fmla="*/ 107 w 174"/>
                <a:gd name="T39" fmla="*/ 0 h 143"/>
                <a:gd name="T40" fmla="*/ 103 w 174"/>
                <a:gd name="T41" fmla="*/ 4 h 143"/>
                <a:gd name="T42" fmla="*/ 94 w 174"/>
                <a:gd name="T43" fmla="*/ 22 h 143"/>
                <a:gd name="T44" fmla="*/ 67 w 174"/>
                <a:gd name="T45" fmla="*/ 40 h 143"/>
                <a:gd name="T46" fmla="*/ 58 w 174"/>
                <a:gd name="T47" fmla="*/ 53 h 143"/>
                <a:gd name="T48" fmla="*/ 58 w 174"/>
                <a:gd name="T49" fmla="*/ 62 h 143"/>
                <a:gd name="T50" fmla="*/ 49 w 174"/>
                <a:gd name="T51" fmla="*/ 71 h 143"/>
                <a:gd name="T52" fmla="*/ 49 w 174"/>
                <a:gd name="T53" fmla="*/ 89 h 143"/>
                <a:gd name="T54" fmla="*/ 54 w 174"/>
                <a:gd name="T55" fmla="*/ 94 h 143"/>
                <a:gd name="T56" fmla="*/ 54 w 174"/>
                <a:gd name="T57" fmla="*/ 98 h 143"/>
                <a:gd name="T58" fmla="*/ 4 w 174"/>
                <a:gd name="T59" fmla="*/ 134 h 143"/>
                <a:gd name="T60" fmla="*/ 0 w 174"/>
                <a:gd name="T61" fmla="*/ 138 h 14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74"/>
                <a:gd name="T94" fmla="*/ 0 h 143"/>
                <a:gd name="T95" fmla="*/ 174 w 174"/>
                <a:gd name="T96" fmla="*/ 143 h 14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74" h="143">
                  <a:moveTo>
                    <a:pt x="0" y="138"/>
                  </a:moveTo>
                  <a:lnTo>
                    <a:pt x="62" y="143"/>
                  </a:lnTo>
                  <a:lnTo>
                    <a:pt x="67" y="129"/>
                  </a:lnTo>
                  <a:lnTo>
                    <a:pt x="76" y="116"/>
                  </a:lnTo>
                  <a:lnTo>
                    <a:pt x="94" y="111"/>
                  </a:lnTo>
                  <a:lnTo>
                    <a:pt x="103" y="111"/>
                  </a:lnTo>
                  <a:lnTo>
                    <a:pt x="143" y="80"/>
                  </a:lnTo>
                  <a:lnTo>
                    <a:pt x="152" y="67"/>
                  </a:lnTo>
                  <a:lnTo>
                    <a:pt x="170" y="71"/>
                  </a:lnTo>
                  <a:lnTo>
                    <a:pt x="174" y="62"/>
                  </a:lnTo>
                  <a:lnTo>
                    <a:pt x="165" y="58"/>
                  </a:lnTo>
                  <a:lnTo>
                    <a:pt x="161" y="40"/>
                  </a:lnTo>
                  <a:lnTo>
                    <a:pt x="161" y="26"/>
                  </a:lnTo>
                  <a:lnTo>
                    <a:pt x="156" y="13"/>
                  </a:lnTo>
                  <a:lnTo>
                    <a:pt x="147" y="9"/>
                  </a:lnTo>
                  <a:lnTo>
                    <a:pt x="147" y="4"/>
                  </a:lnTo>
                  <a:lnTo>
                    <a:pt x="138" y="9"/>
                  </a:lnTo>
                  <a:lnTo>
                    <a:pt x="129" y="9"/>
                  </a:lnTo>
                  <a:lnTo>
                    <a:pt x="116" y="4"/>
                  </a:lnTo>
                  <a:lnTo>
                    <a:pt x="107" y="0"/>
                  </a:lnTo>
                  <a:lnTo>
                    <a:pt x="103" y="4"/>
                  </a:lnTo>
                  <a:lnTo>
                    <a:pt x="94" y="22"/>
                  </a:lnTo>
                  <a:lnTo>
                    <a:pt x="67" y="40"/>
                  </a:lnTo>
                  <a:lnTo>
                    <a:pt x="58" y="53"/>
                  </a:lnTo>
                  <a:lnTo>
                    <a:pt x="58" y="62"/>
                  </a:lnTo>
                  <a:lnTo>
                    <a:pt x="49" y="71"/>
                  </a:lnTo>
                  <a:lnTo>
                    <a:pt x="49" y="89"/>
                  </a:lnTo>
                  <a:lnTo>
                    <a:pt x="54" y="94"/>
                  </a:lnTo>
                  <a:lnTo>
                    <a:pt x="54" y="98"/>
                  </a:lnTo>
                  <a:lnTo>
                    <a:pt x="4" y="134"/>
                  </a:lnTo>
                  <a:lnTo>
                    <a:pt x="0" y="138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89" name="Freeform 69"/>
            <p:cNvSpPr>
              <a:spLocks/>
            </p:cNvSpPr>
            <p:nvPr/>
          </p:nvSpPr>
          <p:spPr bwMode="gray">
            <a:xfrm>
              <a:off x="3120" y="2931"/>
              <a:ext cx="148" cy="259"/>
            </a:xfrm>
            <a:custGeom>
              <a:avLst/>
              <a:gdLst>
                <a:gd name="T0" fmla="*/ 0 w 148"/>
                <a:gd name="T1" fmla="*/ 81 h 259"/>
                <a:gd name="T2" fmla="*/ 5 w 148"/>
                <a:gd name="T3" fmla="*/ 85 h 259"/>
                <a:gd name="T4" fmla="*/ 18 w 148"/>
                <a:gd name="T5" fmla="*/ 85 h 259"/>
                <a:gd name="T6" fmla="*/ 36 w 148"/>
                <a:gd name="T7" fmla="*/ 94 h 259"/>
                <a:gd name="T8" fmla="*/ 40 w 148"/>
                <a:gd name="T9" fmla="*/ 130 h 259"/>
                <a:gd name="T10" fmla="*/ 36 w 148"/>
                <a:gd name="T11" fmla="*/ 139 h 259"/>
                <a:gd name="T12" fmla="*/ 40 w 148"/>
                <a:gd name="T13" fmla="*/ 148 h 259"/>
                <a:gd name="T14" fmla="*/ 32 w 148"/>
                <a:gd name="T15" fmla="*/ 170 h 259"/>
                <a:gd name="T16" fmla="*/ 18 w 148"/>
                <a:gd name="T17" fmla="*/ 188 h 259"/>
                <a:gd name="T18" fmla="*/ 18 w 148"/>
                <a:gd name="T19" fmla="*/ 192 h 259"/>
                <a:gd name="T20" fmla="*/ 23 w 148"/>
                <a:gd name="T21" fmla="*/ 228 h 259"/>
                <a:gd name="T22" fmla="*/ 23 w 148"/>
                <a:gd name="T23" fmla="*/ 237 h 259"/>
                <a:gd name="T24" fmla="*/ 23 w 148"/>
                <a:gd name="T25" fmla="*/ 242 h 259"/>
                <a:gd name="T26" fmla="*/ 23 w 148"/>
                <a:gd name="T27" fmla="*/ 246 h 259"/>
                <a:gd name="T28" fmla="*/ 23 w 148"/>
                <a:gd name="T29" fmla="*/ 259 h 259"/>
                <a:gd name="T30" fmla="*/ 36 w 148"/>
                <a:gd name="T31" fmla="*/ 255 h 259"/>
                <a:gd name="T32" fmla="*/ 36 w 148"/>
                <a:gd name="T33" fmla="*/ 242 h 259"/>
                <a:gd name="T34" fmla="*/ 27 w 148"/>
                <a:gd name="T35" fmla="*/ 242 h 259"/>
                <a:gd name="T36" fmla="*/ 36 w 148"/>
                <a:gd name="T37" fmla="*/ 233 h 259"/>
                <a:gd name="T38" fmla="*/ 67 w 148"/>
                <a:gd name="T39" fmla="*/ 219 h 259"/>
                <a:gd name="T40" fmla="*/ 72 w 148"/>
                <a:gd name="T41" fmla="*/ 210 h 259"/>
                <a:gd name="T42" fmla="*/ 67 w 148"/>
                <a:gd name="T43" fmla="*/ 210 h 259"/>
                <a:gd name="T44" fmla="*/ 72 w 148"/>
                <a:gd name="T45" fmla="*/ 201 h 259"/>
                <a:gd name="T46" fmla="*/ 72 w 148"/>
                <a:gd name="T47" fmla="*/ 183 h 259"/>
                <a:gd name="T48" fmla="*/ 67 w 148"/>
                <a:gd name="T49" fmla="*/ 179 h 259"/>
                <a:gd name="T50" fmla="*/ 67 w 148"/>
                <a:gd name="T51" fmla="*/ 183 h 259"/>
                <a:gd name="T52" fmla="*/ 63 w 148"/>
                <a:gd name="T53" fmla="*/ 157 h 259"/>
                <a:gd name="T54" fmla="*/ 58 w 148"/>
                <a:gd name="T55" fmla="*/ 152 h 259"/>
                <a:gd name="T56" fmla="*/ 72 w 148"/>
                <a:gd name="T57" fmla="*/ 134 h 259"/>
                <a:gd name="T58" fmla="*/ 85 w 148"/>
                <a:gd name="T59" fmla="*/ 130 h 259"/>
                <a:gd name="T60" fmla="*/ 99 w 148"/>
                <a:gd name="T61" fmla="*/ 112 h 259"/>
                <a:gd name="T62" fmla="*/ 134 w 148"/>
                <a:gd name="T63" fmla="*/ 94 h 259"/>
                <a:gd name="T64" fmla="*/ 148 w 148"/>
                <a:gd name="T65" fmla="*/ 76 h 259"/>
                <a:gd name="T66" fmla="*/ 148 w 148"/>
                <a:gd name="T67" fmla="*/ 54 h 259"/>
                <a:gd name="T68" fmla="*/ 143 w 148"/>
                <a:gd name="T69" fmla="*/ 54 h 259"/>
                <a:gd name="T70" fmla="*/ 148 w 148"/>
                <a:gd name="T71" fmla="*/ 5 h 259"/>
                <a:gd name="T72" fmla="*/ 143 w 148"/>
                <a:gd name="T73" fmla="*/ 0 h 259"/>
                <a:gd name="T74" fmla="*/ 130 w 148"/>
                <a:gd name="T75" fmla="*/ 9 h 259"/>
                <a:gd name="T76" fmla="*/ 107 w 148"/>
                <a:gd name="T77" fmla="*/ 9 h 259"/>
                <a:gd name="T78" fmla="*/ 103 w 148"/>
                <a:gd name="T79" fmla="*/ 18 h 259"/>
                <a:gd name="T80" fmla="*/ 94 w 148"/>
                <a:gd name="T81" fmla="*/ 14 h 259"/>
                <a:gd name="T82" fmla="*/ 85 w 148"/>
                <a:gd name="T83" fmla="*/ 23 h 259"/>
                <a:gd name="T84" fmla="*/ 76 w 148"/>
                <a:gd name="T85" fmla="*/ 14 h 259"/>
                <a:gd name="T86" fmla="*/ 63 w 148"/>
                <a:gd name="T87" fmla="*/ 18 h 259"/>
                <a:gd name="T88" fmla="*/ 63 w 148"/>
                <a:gd name="T89" fmla="*/ 23 h 259"/>
                <a:gd name="T90" fmla="*/ 58 w 148"/>
                <a:gd name="T91" fmla="*/ 31 h 259"/>
                <a:gd name="T92" fmla="*/ 58 w 148"/>
                <a:gd name="T93" fmla="*/ 40 h 259"/>
                <a:gd name="T94" fmla="*/ 67 w 148"/>
                <a:gd name="T95" fmla="*/ 45 h 259"/>
                <a:gd name="T96" fmla="*/ 76 w 148"/>
                <a:gd name="T97" fmla="*/ 58 h 259"/>
                <a:gd name="T98" fmla="*/ 76 w 148"/>
                <a:gd name="T99" fmla="*/ 85 h 259"/>
                <a:gd name="T100" fmla="*/ 67 w 148"/>
                <a:gd name="T101" fmla="*/ 90 h 259"/>
                <a:gd name="T102" fmla="*/ 72 w 148"/>
                <a:gd name="T103" fmla="*/ 99 h 259"/>
                <a:gd name="T104" fmla="*/ 63 w 148"/>
                <a:gd name="T105" fmla="*/ 103 h 259"/>
                <a:gd name="T106" fmla="*/ 54 w 148"/>
                <a:gd name="T107" fmla="*/ 85 h 259"/>
                <a:gd name="T108" fmla="*/ 58 w 148"/>
                <a:gd name="T109" fmla="*/ 72 h 259"/>
                <a:gd name="T110" fmla="*/ 54 w 148"/>
                <a:gd name="T111" fmla="*/ 63 h 259"/>
                <a:gd name="T112" fmla="*/ 45 w 148"/>
                <a:gd name="T113" fmla="*/ 63 h 259"/>
                <a:gd name="T114" fmla="*/ 36 w 148"/>
                <a:gd name="T115" fmla="*/ 54 h 259"/>
                <a:gd name="T116" fmla="*/ 0 w 148"/>
                <a:gd name="T117" fmla="*/ 72 h 259"/>
                <a:gd name="T118" fmla="*/ 0 w 148"/>
                <a:gd name="T119" fmla="*/ 81 h 25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8"/>
                <a:gd name="T181" fmla="*/ 0 h 259"/>
                <a:gd name="T182" fmla="*/ 148 w 148"/>
                <a:gd name="T183" fmla="*/ 259 h 25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8" h="259">
                  <a:moveTo>
                    <a:pt x="0" y="81"/>
                  </a:moveTo>
                  <a:lnTo>
                    <a:pt x="5" y="85"/>
                  </a:lnTo>
                  <a:lnTo>
                    <a:pt x="18" y="85"/>
                  </a:lnTo>
                  <a:lnTo>
                    <a:pt x="36" y="94"/>
                  </a:lnTo>
                  <a:lnTo>
                    <a:pt x="40" y="130"/>
                  </a:lnTo>
                  <a:lnTo>
                    <a:pt x="36" y="139"/>
                  </a:lnTo>
                  <a:lnTo>
                    <a:pt x="40" y="148"/>
                  </a:lnTo>
                  <a:lnTo>
                    <a:pt x="32" y="170"/>
                  </a:lnTo>
                  <a:lnTo>
                    <a:pt x="18" y="188"/>
                  </a:lnTo>
                  <a:lnTo>
                    <a:pt x="18" y="192"/>
                  </a:lnTo>
                  <a:lnTo>
                    <a:pt x="23" y="228"/>
                  </a:lnTo>
                  <a:lnTo>
                    <a:pt x="23" y="237"/>
                  </a:lnTo>
                  <a:lnTo>
                    <a:pt x="23" y="242"/>
                  </a:lnTo>
                  <a:lnTo>
                    <a:pt x="23" y="246"/>
                  </a:lnTo>
                  <a:lnTo>
                    <a:pt x="23" y="259"/>
                  </a:lnTo>
                  <a:lnTo>
                    <a:pt x="36" y="255"/>
                  </a:lnTo>
                  <a:lnTo>
                    <a:pt x="36" y="242"/>
                  </a:lnTo>
                  <a:lnTo>
                    <a:pt x="27" y="242"/>
                  </a:lnTo>
                  <a:lnTo>
                    <a:pt x="36" y="233"/>
                  </a:lnTo>
                  <a:lnTo>
                    <a:pt x="67" y="219"/>
                  </a:lnTo>
                  <a:lnTo>
                    <a:pt x="72" y="210"/>
                  </a:lnTo>
                  <a:lnTo>
                    <a:pt x="67" y="210"/>
                  </a:lnTo>
                  <a:lnTo>
                    <a:pt x="72" y="201"/>
                  </a:lnTo>
                  <a:lnTo>
                    <a:pt x="72" y="183"/>
                  </a:lnTo>
                  <a:lnTo>
                    <a:pt x="67" y="179"/>
                  </a:lnTo>
                  <a:lnTo>
                    <a:pt x="67" y="183"/>
                  </a:lnTo>
                  <a:lnTo>
                    <a:pt x="63" y="157"/>
                  </a:lnTo>
                  <a:lnTo>
                    <a:pt x="58" y="152"/>
                  </a:lnTo>
                  <a:lnTo>
                    <a:pt x="72" y="134"/>
                  </a:lnTo>
                  <a:lnTo>
                    <a:pt x="85" y="130"/>
                  </a:lnTo>
                  <a:lnTo>
                    <a:pt x="99" y="112"/>
                  </a:lnTo>
                  <a:lnTo>
                    <a:pt x="134" y="94"/>
                  </a:lnTo>
                  <a:lnTo>
                    <a:pt x="148" y="76"/>
                  </a:lnTo>
                  <a:lnTo>
                    <a:pt x="148" y="54"/>
                  </a:lnTo>
                  <a:lnTo>
                    <a:pt x="143" y="54"/>
                  </a:lnTo>
                  <a:lnTo>
                    <a:pt x="148" y="5"/>
                  </a:lnTo>
                  <a:lnTo>
                    <a:pt x="143" y="0"/>
                  </a:lnTo>
                  <a:lnTo>
                    <a:pt x="130" y="9"/>
                  </a:lnTo>
                  <a:lnTo>
                    <a:pt x="107" y="9"/>
                  </a:lnTo>
                  <a:lnTo>
                    <a:pt x="103" y="18"/>
                  </a:lnTo>
                  <a:lnTo>
                    <a:pt x="94" y="14"/>
                  </a:lnTo>
                  <a:lnTo>
                    <a:pt x="85" y="23"/>
                  </a:lnTo>
                  <a:lnTo>
                    <a:pt x="76" y="14"/>
                  </a:lnTo>
                  <a:lnTo>
                    <a:pt x="63" y="18"/>
                  </a:lnTo>
                  <a:lnTo>
                    <a:pt x="63" y="23"/>
                  </a:lnTo>
                  <a:lnTo>
                    <a:pt x="58" y="31"/>
                  </a:lnTo>
                  <a:lnTo>
                    <a:pt x="58" y="40"/>
                  </a:lnTo>
                  <a:lnTo>
                    <a:pt x="67" y="45"/>
                  </a:lnTo>
                  <a:lnTo>
                    <a:pt x="76" y="58"/>
                  </a:lnTo>
                  <a:lnTo>
                    <a:pt x="76" y="85"/>
                  </a:lnTo>
                  <a:lnTo>
                    <a:pt x="67" y="90"/>
                  </a:lnTo>
                  <a:lnTo>
                    <a:pt x="72" y="99"/>
                  </a:lnTo>
                  <a:lnTo>
                    <a:pt x="63" y="103"/>
                  </a:lnTo>
                  <a:lnTo>
                    <a:pt x="54" y="85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63"/>
                  </a:lnTo>
                  <a:lnTo>
                    <a:pt x="36" y="54"/>
                  </a:lnTo>
                  <a:lnTo>
                    <a:pt x="0" y="72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0" name="Freeform 70"/>
            <p:cNvSpPr>
              <a:spLocks/>
            </p:cNvSpPr>
            <p:nvPr/>
          </p:nvSpPr>
          <p:spPr bwMode="gray">
            <a:xfrm>
              <a:off x="2848" y="3030"/>
              <a:ext cx="192" cy="196"/>
            </a:xfrm>
            <a:custGeom>
              <a:avLst/>
              <a:gdLst>
                <a:gd name="T0" fmla="*/ 4 w 192"/>
                <a:gd name="T1" fmla="*/ 4 h 196"/>
                <a:gd name="T2" fmla="*/ 9 w 192"/>
                <a:gd name="T3" fmla="*/ 0 h 196"/>
                <a:gd name="T4" fmla="*/ 27 w 192"/>
                <a:gd name="T5" fmla="*/ 0 h 196"/>
                <a:gd name="T6" fmla="*/ 40 w 192"/>
                <a:gd name="T7" fmla="*/ 8 h 196"/>
                <a:gd name="T8" fmla="*/ 49 w 192"/>
                <a:gd name="T9" fmla="*/ 4 h 196"/>
                <a:gd name="T10" fmla="*/ 103 w 192"/>
                <a:gd name="T11" fmla="*/ 4 h 196"/>
                <a:gd name="T12" fmla="*/ 116 w 192"/>
                <a:gd name="T13" fmla="*/ 17 h 196"/>
                <a:gd name="T14" fmla="*/ 134 w 192"/>
                <a:gd name="T15" fmla="*/ 17 h 196"/>
                <a:gd name="T16" fmla="*/ 170 w 192"/>
                <a:gd name="T17" fmla="*/ 8 h 196"/>
                <a:gd name="T18" fmla="*/ 178 w 192"/>
                <a:gd name="T19" fmla="*/ 4 h 196"/>
                <a:gd name="T20" fmla="*/ 192 w 192"/>
                <a:gd name="T21" fmla="*/ 13 h 196"/>
                <a:gd name="T22" fmla="*/ 178 w 192"/>
                <a:gd name="T23" fmla="*/ 17 h 196"/>
                <a:gd name="T24" fmla="*/ 174 w 192"/>
                <a:gd name="T25" fmla="*/ 26 h 196"/>
                <a:gd name="T26" fmla="*/ 165 w 192"/>
                <a:gd name="T27" fmla="*/ 17 h 196"/>
                <a:gd name="T28" fmla="*/ 147 w 192"/>
                <a:gd name="T29" fmla="*/ 22 h 196"/>
                <a:gd name="T30" fmla="*/ 138 w 192"/>
                <a:gd name="T31" fmla="*/ 22 h 196"/>
                <a:gd name="T32" fmla="*/ 138 w 192"/>
                <a:gd name="T33" fmla="*/ 80 h 196"/>
                <a:gd name="T34" fmla="*/ 125 w 192"/>
                <a:gd name="T35" fmla="*/ 80 h 196"/>
                <a:gd name="T36" fmla="*/ 120 w 192"/>
                <a:gd name="T37" fmla="*/ 125 h 196"/>
                <a:gd name="T38" fmla="*/ 120 w 192"/>
                <a:gd name="T39" fmla="*/ 187 h 196"/>
                <a:gd name="T40" fmla="*/ 111 w 192"/>
                <a:gd name="T41" fmla="*/ 187 h 196"/>
                <a:gd name="T42" fmla="*/ 111 w 192"/>
                <a:gd name="T43" fmla="*/ 196 h 196"/>
                <a:gd name="T44" fmla="*/ 94 w 192"/>
                <a:gd name="T45" fmla="*/ 192 h 196"/>
                <a:gd name="T46" fmla="*/ 80 w 192"/>
                <a:gd name="T47" fmla="*/ 192 h 196"/>
                <a:gd name="T48" fmla="*/ 80 w 192"/>
                <a:gd name="T49" fmla="*/ 183 h 196"/>
                <a:gd name="T50" fmla="*/ 76 w 192"/>
                <a:gd name="T51" fmla="*/ 183 h 196"/>
                <a:gd name="T52" fmla="*/ 67 w 192"/>
                <a:gd name="T53" fmla="*/ 187 h 196"/>
                <a:gd name="T54" fmla="*/ 53 w 192"/>
                <a:gd name="T55" fmla="*/ 169 h 196"/>
                <a:gd name="T56" fmla="*/ 49 w 192"/>
                <a:gd name="T57" fmla="*/ 160 h 196"/>
                <a:gd name="T58" fmla="*/ 40 w 192"/>
                <a:gd name="T59" fmla="*/ 111 h 196"/>
                <a:gd name="T60" fmla="*/ 40 w 192"/>
                <a:gd name="T61" fmla="*/ 93 h 196"/>
                <a:gd name="T62" fmla="*/ 22 w 192"/>
                <a:gd name="T63" fmla="*/ 44 h 196"/>
                <a:gd name="T64" fmla="*/ 0 w 192"/>
                <a:gd name="T65" fmla="*/ 22 h 196"/>
                <a:gd name="T66" fmla="*/ 4 w 192"/>
                <a:gd name="T67" fmla="*/ 4 h 19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92"/>
                <a:gd name="T103" fmla="*/ 0 h 196"/>
                <a:gd name="T104" fmla="*/ 192 w 192"/>
                <a:gd name="T105" fmla="*/ 196 h 19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92" h="196">
                  <a:moveTo>
                    <a:pt x="4" y="4"/>
                  </a:moveTo>
                  <a:lnTo>
                    <a:pt x="9" y="0"/>
                  </a:lnTo>
                  <a:lnTo>
                    <a:pt x="27" y="0"/>
                  </a:lnTo>
                  <a:lnTo>
                    <a:pt x="40" y="8"/>
                  </a:lnTo>
                  <a:lnTo>
                    <a:pt x="49" y="4"/>
                  </a:lnTo>
                  <a:lnTo>
                    <a:pt x="103" y="4"/>
                  </a:lnTo>
                  <a:lnTo>
                    <a:pt x="116" y="17"/>
                  </a:lnTo>
                  <a:lnTo>
                    <a:pt x="134" y="17"/>
                  </a:lnTo>
                  <a:lnTo>
                    <a:pt x="170" y="8"/>
                  </a:lnTo>
                  <a:lnTo>
                    <a:pt x="178" y="4"/>
                  </a:lnTo>
                  <a:lnTo>
                    <a:pt x="192" y="13"/>
                  </a:lnTo>
                  <a:lnTo>
                    <a:pt x="178" y="17"/>
                  </a:lnTo>
                  <a:lnTo>
                    <a:pt x="174" y="26"/>
                  </a:lnTo>
                  <a:lnTo>
                    <a:pt x="165" y="17"/>
                  </a:lnTo>
                  <a:lnTo>
                    <a:pt x="147" y="22"/>
                  </a:lnTo>
                  <a:lnTo>
                    <a:pt x="138" y="22"/>
                  </a:lnTo>
                  <a:lnTo>
                    <a:pt x="138" y="80"/>
                  </a:lnTo>
                  <a:lnTo>
                    <a:pt x="125" y="80"/>
                  </a:lnTo>
                  <a:lnTo>
                    <a:pt x="120" y="125"/>
                  </a:lnTo>
                  <a:lnTo>
                    <a:pt x="120" y="187"/>
                  </a:lnTo>
                  <a:lnTo>
                    <a:pt x="111" y="187"/>
                  </a:lnTo>
                  <a:lnTo>
                    <a:pt x="111" y="196"/>
                  </a:lnTo>
                  <a:lnTo>
                    <a:pt x="94" y="192"/>
                  </a:lnTo>
                  <a:lnTo>
                    <a:pt x="80" y="192"/>
                  </a:lnTo>
                  <a:lnTo>
                    <a:pt x="80" y="183"/>
                  </a:lnTo>
                  <a:lnTo>
                    <a:pt x="76" y="183"/>
                  </a:lnTo>
                  <a:lnTo>
                    <a:pt x="67" y="187"/>
                  </a:lnTo>
                  <a:lnTo>
                    <a:pt x="53" y="169"/>
                  </a:lnTo>
                  <a:lnTo>
                    <a:pt x="49" y="160"/>
                  </a:lnTo>
                  <a:lnTo>
                    <a:pt x="40" y="111"/>
                  </a:lnTo>
                  <a:lnTo>
                    <a:pt x="40" y="93"/>
                  </a:lnTo>
                  <a:lnTo>
                    <a:pt x="22" y="44"/>
                  </a:lnTo>
                  <a:lnTo>
                    <a:pt x="0" y="22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1" name="Freeform 71"/>
            <p:cNvSpPr>
              <a:spLocks/>
            </p:cNvSpPr>
            <p:nvPr/>
          </p:nvSpPr>
          <p:spPr bwMode="gray">
            <a:xfrm>
              <a:off x="2687" y="2431"/>
              <a:ext cx="228" cy="174"/>
            </a:xfrm>
            <a:custGeom>
              <a:avLst/>
              <a:gdLst>
                <a:gd name="T0" fmla="*/ 0 w 228"/>
                <a:gd name="T1" fmla="*/ 129 h 174"/>
                <a:gd name="T2" fmla="*/ 0 w 228"/>
                <a:gd name="T3" fmla="*/ 138 h 174"/>
                <a:gd name="T4" fmla="*/ 9 w 228"/>
                <a:gd name="T5" fmla="*/ 152 h 174"/>
                <a:gd name="T6" fmla="*/ 9 w 228"/>
                <a:gd name="T7" fmla="*/ 161 h 174"/>
                <a:gd name="T8" fmla="*/ 18 w 228"/>
                <a:gd name="T9" fmla="*/ 165 h 174"/>
                <a:gd name="T10" fmla="*/ 27 w 228"/>
                <a:gd name="T11" fmla="*/ 161 h 174"/>
                <a:gd name="T12" fmla="*/ 27 w 228"/>
                <a:gd name="T13" fmla="*/ 174 h 174"/>
                <a:gd name="T14" fmla="*/ 31 w 228"/>
                <a:gd name="T15" fmla="*/ 174 h 174"/>
                <a:gd name="T16" fmla="*/ 40 w 228"/>
                <a:gd name="T17" fmla="*/ 165 h 174"/>
                <a:gd name="T18" fmla="*/ 54 w 228"/>
                <a:gd name="T19" fmla="*/ 174 h 174"/>
                <a:gd name="T20" fmla="*/ 54 w 228"/>
                <a:gd name="T21" fmla="*/ 165 h 174"/>
                <a:gd name="T22" fmla="*/ 58 w 228"/>
                <a:gd name="T23" fmla="*/ 156 h 174"/>
                <a:gd name="T24" fmla="*/ 58 w 228"/>
                <a:gd name="T25" fmla="*/ 147 h 174"/>
                <a:gd name="T26" fmla="*/ 71 w 228"/>
                <a:gd name="T27" fmla="*/ 143 h 174"/>
                <a:gd name="T28" fmla="*/ 94 w 228"/>
                <a:gd name="T29" fmla="*/ 147 h 174"/>
                <a:gd name="T30" fmla="*/ 107 w 228"/>
                <a:gd name="T31" fmla="*/ 161 h 174"/>
                <a:gd name="T32" fmla="*/ 121 w 228"/>
                <a:gd name="T33" fmla="*/ 156 h 174"/>
                <a:gd name="T34" fmla="*/ 138 w 228"/>
                <a:gd name="T35" fmla="*/ 156 h 174"/>
                <a:gd name="T36" fmla="*/ 156 w 228"/>
                <a:gd name="T37" fmla="*/ 152 h 174"/>
                <a:gd name="T38" fmla="*/ 170 w 228"/>
                <a:gd name="T39" fmla="*/ 156 h 174"/>
                <a:gd name="T40" fmla="*/ 188 w 228"/>
                <a:gd name="T41" fmla="*/ 147 h 174"/>
                <a:gd name="T42" fmla="*/ 188 w 228"/>
                <a:gd name="T43" fmla="*/ 134 h 174"/>
                <a:gd name="T44" fmla="*/ 192 w 228"/>
                <a:gd name="T45" fmla="*/ 125 h 174"/>
                <a:gd name="T46" fmla="*/ 214 w 228"/>
                <a:gd name="T47" fmla="*/ 107 h 174"/>
                <a:gd name="T48" fmla="*/ 219 w 228"/>
                <a:gd name="T49" fmla="*/ 62 h 174"/>
                <a:gd name="T50" fmla="*/ 228 w 228"/>
                <a:gd name="T51" fmla="*/ 44 h 174"/>
                <a:gd name="T52" fmla="*/ 219 w 228"/>
                <a:gd name="T53" fmla="*/ 35 h 174"/>
                <a:gd name="T54" fmla="*/ 219 w 228"/>
                <a:gd name="T55" fmla="*/ 22 h 174"/>
                <a:gd name="T56" fmla="*/ 210 w 228"/>
                <a:gd name="T57" fmla="*/ 4 h 174"/>
                <a:gd name="T58" fmla="*/ 197 w 228"/>
                <a:gd name="T59" fmla="*/ 13 h 174"/>
                <a:gd name="T60" fmla="*/ 192 w 228"/>
                <a:gd name="T61" fmla="*/ 0 h 174"/>
                <a:gd name="T62" fmla="*/ 170 w 228"/>
                <a:gd name="T63" fmla="*/ 0 h 174"/>
                <a:gd name="T64" fmla="*/ 94 w 228"/>
                <a:gd name="T65" fmla="*/ 53 h 174"/>
                <a:gd name="T66" fmla="*/ 58 w 228"/>
                <a:gd name="T67" fmla="*/ 62 h 174"/>
                <a:gd name="T68" fmla="*/ 58 w 228"/>
                <a:gd name="T69" fmla="*/ 98 h 174"/>
                <a:gd name="T70" fmla="*/ 58 w 228"/>
                <a:gd name="T71" fmla="*/ 111 h 174"/>
                <a:gd name="T72" fmla="*/ 49 w 228"/>
                <a:gd name="T73" fmla="*/ 120 h 174"/>
                <a:gd name="T74" fmla="*/ 22 w 228"/>
                <a:gd name="T75" fmla="*/ 120 h 174"/>
                <a:gd name="T76" fmla="*/ 13 w 228"/>
                <a:gd name="T77" fmla="*/ 120 h 174"/>
                <a:gd name="T78" fmla="*/ 9 w 228"/>
                <a:gd name="T79" fmla="*/ 129 h 174"/>
                <a:gd name="T80" fmla="*/ 0 w 228"/>
                <a:gd name="T81" fmla="*/ 129 h 17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28"/>
                <a:gd name="T124" fmla="*/ 0 h 174"/>
                <a:gd name="T125" fmla="*/ 228 w 228"/>
                <a:gd name="T126" fmla="*/ 174 h 17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28" h="174">
                  <a:moveTo>
                    <a:pt x="0" y="129"/>
                  </a:moveTo>
                  <a:lnTo>
                    <a:pt x="0" y="138"/>
                  </a:lnTo>
                  <a:lnTo>
                    <a:pt x="9" y="152"/>
                  </a:lnTo>
                  <a:lnTo>
                    <a:pt x="9" y="161"/>
                  </a:lnTo>
                  <a:lnTo>
                    <a:pt x="18" y="165"/>
                  </a:lnTo>
                  <a:lnTo>
                    <a:pt x="27" y="161"/>
                  </a:lnTo>
                  <a:lnTo>
                    <a:pt x="27" y="174"/>
                  </a:lnTo>
                  <a:lnTo>
                    <a:pt x="31" y="174"/>
                  </a:lnTo>
                  <a:lnTo>
                    <a:pt x="40" y="165"/>
                  </a:lnTo>
                  <a:lnTo>
                    <a:pt x="54" y="174"/>
                  </a:lnTo>
                  <a:lnTo>
                    <a:pt x="54" y="165"/>
                  </a:lnTo>
                  <a:lnTo>
                    <a:pt x="58" y="156"/>
                  </a:lnTo>
                  <a:lnTo>
                    <a:pt x="58" y="147"/>
                  </a:lnTo>
                  <a:lnTo>
                    <a:pt x="71" y="143"/>
                  </a:lnTo>
                  <a:lnTo>
                    <a:pt x="94" y="147"/>
                  </a:lnTo>
                  <a:lnTo>
                    <a:pt x="107" y="161"/>
                  </a:lnTo>
                  <a:lnTo>
                    <a:pt x="121" y="156"/>
                  </a:lnTo>
                  <a:lnTo>
                    <a:pt x="138" y="156"/>
                  </a:lnTo>
                  <a:lnTo>
                    <a:pt x="156" y="152"/>
                  </a:lnTo>
                  <a:lnTo>
                    <a:pt x="170" y="156"/>
                  </a:lnTo>
                  <a:lnTo>
                    <a:pt x="188" y="147"/>
                  </a:lnTo>
                  <a:lnTo>
                    <a:pt x="188" y="134"/>
                  </a:lnTo>
                  <a:lnTo>
                    <a:pt x="192" y="125"/>
                  </a:lnTo>
                  <a:lnTo>
                    <a:pt x="214" y="107"/>
                  </a:lnTo>
                  <a:lnTo>
                    <a:pt x="219" y="62"/>
                  </a:lnTo>
                  <a:lnTo>
                    <a:pt x="228" y="44"/>
                  </a:lnTo>
                  <a:lnTo>
                    <a:pt x="219" y="35"/>
                  </a:lnTo>
                  <a:lnTo>
                    <a:pt x="219" y="22"/>
                  </a:lnTo>
                  <a:lnTo>
                    <a:pt x="210" y="4"/>
                  </a:lnTo>
                  <a:lnTo>
                    <a:pt x="197" y="13"/>
                  </a:lnTo>
                  <a:lnTo>
                    <a:pt x="192" y="0"/>
                  </a:lnTo>
                  <a:lnTo>
                    <a:pt x="170" y="0"/>
                  </a:lnTo>
                  <a:lnTo>
                    <a:pt x="94" y="53"/>
                  </a:lnTo>
                  <a:lnTo>
                    <a:pt x="58" y="62"/>
                  </a:lnTo>
                  <a:lnTo>
                    <a:pt x="58" y="98"/>
                  </a:lnTo>
                  <a:lnTo>
                    <a:pt x="58" y="111"/>
                  </a:lnTo>
                  <a:lnTo>
                    <a:pt x="49" y="120"/>
                  </a:lnTo>
                  <a:lnTo>
                    <a:pt x="22" y="120"/>
                  </a:lnTo>
                  <a:lnTo>
                    <a:pt x="13" y="120"/>
                  </a:lnTo>
                  <a:lnTo>
                    <a:pt x="9" y="129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2" name="Freeform 72"/>
            <p:cNvSpPr>
              <a:spLocks/>
            </p:cNvSpPr>
            <p:nvPr/>
          </p:nvSpPr>
          <p:spPr bwMode="gray">
            <a:xfrm>
              <a:off x="2727" y="2574"/>
              <a:ext cx="161" cy="147"/>
            </a:xfrm>
            <a:custGeom>
              <a:avLst/>
              <a:gdLst>
                <a:gd name="T0" fmla="*/ 5 w 161"/>
                <a:gd name="T1" fmla="*/ 111 h 147"/>
                <a:gd name="T2" fmla="*/ 0 w 161"/>
                <a:gd name="T3" fmla="*/ 98 h 147"/>
                <a:gd name="T4" fmla="*/ 0 w 161"/>
                <a:gd name="T5" fmla="*/ 80 h 147"/>
                <a:gd name="T6" fmla="*/ 9 w 161"/>
                <a:gd name="T7" fmla="*/ 76 h 147"/>
                <a:gd name="T8" fmla="*/ 14 w 161"/>
                <a:gd name="T9" fmla="*/ 67 h 147"/>
                <a:gd name="T10" fmla="*/ 14 w 161"/>
                <a:gd name="T11" fmla="*/ 49 h 147"/>
                <a:gd name="T12" fmla="*/ 9 w 161"/>
                <a:gd name="T13" fmla="*/ 40 h 147"/>
                <a:gd name="T14" fmla="*/ 14 w 161"/>
                <a:gd name="T15" fmla="*/ 31 h 147"/>
                <a:gd name="T16" fmla="*/ 14 w 161"/>
                <a:gd name="T17" fmla="*/ 22 h 147"/>
                <a:gd name="T18" fmla="*/ 18 w 161"/>
                <a:gd name="T19" fmla="*/ 13 h 147"/>
                <a:gd name="T20" fmla="*/ 18 w 161"/>
                <a:gd name="T21" fmla="*/ 4 h 147"/>
                <a:gd name="T22" fmla="*/ 31 w 161"/>
                <a:gd name="T23" fmla="*/ 0 h 147"/>
                <a:gd name="T24" fmla="*/ 54 w 161"/>
                <a:gd name="T25" fmla="*/ 4 h 147"/>
                <a:gd name="T26" fmla="*/ 67 w 161"/>
                <a:gd name="T27" fmla="*/ 18 h 147"/>
                <a:gd name="T28" fmla="*/ 81 w 161"/>
                <a:gd name="T29" fmla="*/ 13 h 147"/>
                <a:gd name="T30" fmla="*/ 98 w 161"/>
                <a:gd name="T31" fmla="*/ 13 h 147"/>
                <a:gd name="T32" fmla="*/ 116 w 161"/>
                <a:gd name="T33" fmla="*/ 9 h 147"/>
                <a:gd name="T34" fmla="*/ 130 w 161"/>
                <a:gd name="T35" fmla="*/ 13 h 147"/>
                <a:gd name="T36" fmla="*/ 148 w 161"/>
                <a:gd name="T37" fmla="*/ 4 h 147"/>
                <a:gd name="T38" fmla="*/ 152 w 161"/>
                <a:gd name="T39" fmla="*/ 9 h 147"/>
                <a:gd name="T40" fmla="*/ 161 w 161"/>
                <a:gd name="T41" fmla="*/ 22 h 147"/>
                <a:gd name="T42" fmla="*/ 161 w 161"/>
                <a:gd name="T43" fmla="*/ 35 h 147"/>
                <a:gd name="T44" fmla="*/ 152 w 161"/>
                <a:gd name="T45" fmla="*/ 40 h 147"/>
                <a:gd name="T46" fmla="*/ 148 w 161"/>
                <a:gd name="T47" fmla="*/ 67 h 147"/>
                <a:gd name="T48" fmla="*/ 143 w 161"/>
                <a:gd name="T49" fmla="*/ 67 h 147"/>
                <a:gd name="T50" fmla="*/ 139 w 161"/>
                <a:gd name="T51" fmla="*/ 80 h 147"/>
                <a:gd name="T52" fmla="*/ 130 w 161"/>
                <a:gd name="T53" fmla="*/ 85 h 147"/>
                <a:gd name="T54" fmla="*/ 116 w 161"/>
                <a:gd name="T55" fmla="*/ 107 h 147"/>
                <a:gd name="T56" fmla="*/ 107 w 161"/>
                <a:gd name="T57" fmla="*/ 102 h 147"/>
                <a:gd name="T58" fmla="*/ 98 w 161"/>
                <a:gd name="T59" fmla="*/ 102 h 147"/>
                <a:gd name="T60" fmla="*/ 90 w 161"/>
                <a:gd name="T61" fmla="*/ 129 h 147"/>
                <a:gd name="T62" fmla="*/ 85 w 161"/>
                <a:gd name="T63" fmla="*/ 134 h 147"/>
                <a:gd name="T64" fmla="*/ 81 w 161"/>
                <a:gd name="T65" fmla="*/ 134 h 147"/>
                <a:gd name="T66" fmla="*/ 81 w 161"/>
                <a:gd name="T67" fmla="*/ 138 h 147"/>
                <a:gd name="T68" fmla="*/ 67 w 161"/>
                <a:gd name="T69" fmla="*/ 138 h 147"/>
                <a:gd name="T70" fmla="*/ 63 w 161"/>
                <a:gd name="T71" fmla="*/ 134 h 147"/>
                <a:gd name="T72" fmla="*/ 58 w 161"/>
                <a:gd name="T73" fmla="*/ 143 h 147"/>
                <a:gd name="T74" fmla="*/ 49 w 161"/>
                <a:gd name="T75" fmla="*/ 147 h 147"/>
                <a:gd name="T76" fmla="*/ 40 w 161"/>
                <a:gd name="T77" fmla="*/ 138 h 147"/>
                <a:gd name="T78" fmla="*/ 36 w 161"/>
                <a:gd name="T79" fmla="*/ 129 h 147"/>
                <a:gd name="T80" fmla="*/ 23 w 161"/>
                <a:gd name="T81" fmla="*/ 116 h 147"/>
                <a:gd name="T82" fmla="*/ 5 w 161"/>
                <a:gd name="T83" fmla="*/ 111 h 14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61"/>
                <a:gd name="T127" fmla="*/ 0 h 147"/>
                <a:gd name="T128" fmla="*/ 161 w 161"/>
                <a:gd name="T129" fmla="*/ 147 h 14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61" h="147">
                  <a:moveTo>
                    <a:pt x="5" y="111"/>
                  </a:moveTo>
                  <a:lnTo>
                    <a:pt x="0" y="98"/>
                  </a:lnTo>
                  <a:lnTo>
                    <a:pt x="0" y="80"/>
                  </a:lnTo>
                  <a:lnTo>
                    <a:pt x="9" y="76"/>
                  </a:lnTo>
                  <a:lnTo>
                    <a:pt x="14" y="67"/>
                  </a:lnTo>
                  <a:lnTo>
                    <a:pt x="14" y="49"/>
                  </a:lnTo>
                  <a:lnTo>
                    <a:pt x="9" y="40"/>
                  </a:lnTo>
                  <a:lnTo>
                    <a:pt x="14" y="31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4"/>
                  </a:lnTo>
                  <a:lnTo>
                    <a:pt x="31" y="0"/>
                  </a:lnTo>
                  <a:lnTo>
                    <a:pt x="54" y="4"/>
                  </a:lnTo>
                  <a:lnTo>
                    <a:pt x="67" y="18"/>
                  </a:lnTo>
                  <a:lnTo>
                    <a:pt x="81" y="13"/>
                  </a:lnTo>
                  <a:lnTo>
                    <a:pt x="98" y="13"/>
                  </a:lnTo>
                  <a:lnTo>
                    <a:pt x="116" y="9"/>
                  </a:lnTo>
                  <a:lnTo>
                    <a:pt x="130" y="13"/>
                  </a:lnTo>
                  <a:lnTo>
                    <a:pt x="148" y="4"/>
                  </a:lnTo>
                  <a:lnTo>
                    <a:pt x="152" y="9"/>
                  </a:lnTo>
                  <a:lnTo>
                    <a:pt x="161" y="22"/>
                  </a:lnTo>
                  <a:lnTo>
                    <a:pt x="161" y="35"/>
                  </a:lnTo>
                  <a:lnTo>
                    <a:pt x="152" y="40"/>
                  </a:lnTo>
                  <a:lnTo>
                    <a:pt x="148" y="67"/>
                  </a:lnTo>
                  <a:lnTo>
                    <a:pt x="143" y="67"/>
                  </a:lnTo>
                  <a:lnTo>
                    <a:pt x="139" y="80"/>
                  </a:lnTo>
                  <a:lnTo>
                    <a:pt x="130" y="85"/>
                  </a:lnTo>
                  <a:lnTo>
                    <a:pt x="116" y="107"/>
                  </a:lnTo>
                  <a:lnTo>
                    <a:pt x="107" y="102"/>
                  </a:lnTo>
                  <a:lnTo>
                    <a:pt x="98" y="102"/>
                  </a:lnTo>
                  <a:lnTo>
                    <a:pt x="90" y="129"/>
                  </a:lnTo>
                  <a:lnTo>
                    <a:pt x="85" y="134"/>
                  </a:lnTo>
                  <a:lnTo>
                    <a:pt x="81" y="134"/>
                  </a:lnTo>
                  <a:lnTo>
                    <a:pt x="81" y="138"/>
                  </a:lnTo>
                  <a:lnTo>
                    <a:pt x="67" y="138"/>
                  </a:lnTo>
                  <a:lnTo>
                    <a:pt x="63" y="134"/>
                  </a:lnTo>
                  <a:lnTo>
                    <a:pt x="58" y="143"/>
                  </a:lnTo>
                  <a:lnTo>
                    <a:pt x="49" y="147"/>
                  </a:lnTo>
                  <a:lnTo>
                    <a:pt x="40" y="138"/>
                  </a:lnTo>
                  <a:lnTo>
                    <a:pt x="36" y="129"/>
                  </a:lnTo>
                  <a:lnTo>
                    <a:pt x="23" y="116"/>
                  </a:lnTo>
                  <a:lnTo>
                    <a:pt x="5" y="11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3" name="Freeform 73"/>
            <p:cNvSpPr>
              <a:spLocks noEditPoints="1"/>
            </p:cNvSpPr>
            <p:nvPr/>
          </p:nvSpPr>
          <p:spPr bwMode="gray">
            <a:xfrm>
              <a:off x="2450" y="2596"/>
              <a:ext cx="40" cy="31"/>
            </a:xfrm>
            <a:custGeom>
              <a:avLst/>
              <a:gdLst>
                <a:gd name="T0" fmla="*/ 0 w 40"/>
                <a:gd name="T1" fmla="*/ 9 h 31"/>
                <a:gd name="T2" fmla="*/ 5 w 40"/>
                <a:gd name="T3" fmla="*/ 13 h 31"/>
                <a:gd name="T4" fmla="*/ 14 w 40"/>
                <a:gd name="T5" fmla="*/ 13 h 31"/>
                <a:gd name="T6" fmla="*/ 14 w 40"/>
                <a:gd name="T7" fmla="*/ 18 h 31"/>
                <a:gd name="T8" fmla="*/ 23 w 40"/>
                <a:gd name="T9" fmla="*/ 13 h 31"/>
                <a:gd name="T10" fmla="*/ 14 w 40"/>
                <a:gd name="T11" fmla="*/ 22 h 31"/>
                <a:gd name="T12" fmla="*/ 14 w 40"/>
                <a:gd name="T13" fmla="*/ 27 h 31"/>
                <a:gd name="T14" fmla="*/ 23 w 40"/>
                <a:gd name="T15" fmla="*/ 31 h 31"/>
                <a:gd name="T16" fmla="*/ 27 w 40"/>
                <a:gd name="T17" fmla="*/ 22 h 31"/>
                <a:gd name="T18" fmla="*/ 40 w 40"/>
                <a:gd name="T19" fmla="*/ 13 h 31"/>
                <a:gd name="T20" fmla="*/ 40 w 40"/>
                <a:gd name="T21" fmla="*/ 5 h 31"/>
                <a:gd name="T22" fmla="*/ 27 w 40"/>
                <a:gd name="T23" fmla="*/ 0 h 31"/>
                <a:gd name="T24" fmla="*/ 0 w 40"/>
                <a:gd name="T25" fmla="*/ 9 h 31"/>
                <a:gd name="T26" fmla="*/ 14 w 40"/>
                <a:gd name="T27" fmla="*/ 22 h 31"/>
                <a:gd name="T28" fmla="*/ 9 w 40"/>
                <a:gd name="T29" fmla="*/ 22 h 31"/>
                <a:gd name="T30" fmla="*/ 9 w 40"/>
                <a:gd name="T31" fmla="*/ 18 h 31"/>
                <a:gd name="T32" fmla="*/ 5 w 40"/>
                <a:gd name="T33" fmla="*/ 18 h 31"/>
                <a:gd name="T34" fmla="*/ 5 w 40"/>
                <a:gd name="T35" fmla="*/ 22 h 31"/>
                <a:gd name="T36" fmla="*/ 5 w 40"/>
                <a:gd name="T37" fmla="*/ 31 h 31"/>
                <a:gd name="T38" fmla="*/ 14 w 40"/>
                <a:gd name="T39" fmla="*/ 22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0"/>
                <a:gd name="T61" fmla="*/ 0 h 31"/>
                <a:gd name="T62" fmla="*/ 40 w 40"/>
                <a:gd name="T63" fmla="*/ 31 h 3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0" h="31">
                  <a:moveTo>
                    <a:pt x="0" y="9"/>
                  </a:moveTo>
                  <a:lnTo>
                    <a:pt x="5" y="13"/>
                  </a:lnTo>
                  <a:lnTo>
                    <a:pt x="14" y="13"/>
                  </a:lnTo>
                  <a:lnTo>
                    <a:pt x="14" y="18"/>
                  </a:lnTo>
                  <a:lnTo>
                    <a:pt x="23" y="13"/>
                  </a:lnTo>
                  <a:lnTo>
                    <a:pt x="14" y="22"/>
                  </a:lnTo>
                  <a:lnTo>
                    <a:pt x="14" y="27"/>
                  </a:lnTo>
                  <a:lnTo>
                    <a:pt x="23" y="31"/>
                  </a:lnTo>
                  <a:lnTo>
                    <a:pt x="27" y="22"/>
                  </a:lnTo>
                  <a:lnTo>
                    <a:pt x="40" y="13"/>
                  </a:lnTo>
                  <a:lnTo>
                    <a:pt x="40" y="5"/>
                  </a:lnTo>
                  <a:lnTo>
                    <a:pt x="27" y="0"/>
                  </a:lnTo>
                  <a:lnTo>
                    <a:pt x="0" y="9"/>
                  </a:lnTo>
                  <a:close/>
                  <a:moveTo>
                    <a:pt x="14" y="22"/>
                  </a:moveTo>
                  <a:lnTo>
                    <a:pt x="9" y="22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5" y="31"/>
                  </a:lnTo>
                  <a:lnTo>
                    <a:pt x="14" y="2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4" name="Freeform 74"/>
            <p:cNvSpPr>
              <a:spLocks/>
            </p:cNvSpPr>
            <p:nvPr/>
          </p:nvSpPr>
          <p:spPr bwMode="gray">
            <a:xfrm>
              <a:off x="3473" y="3092"/>
              <a:ext cx="14" cy="9"/>
            </a:xfrm>
            <a:custGeom>
              <a:avLst/>
              <a:gdLst>
                <a:gd name="T0" fmla="*/ 9 w 14"/>
                <a:gd name="T1" fmla="*/ 0 h 9"/>
                <a:gd name="T2" fmla="*/ 0 w 14"/>
                <a:gd name="T3" fmla="*/ 0 h 9"/>
                <a:gd name="T4" fmla="*/ 0 w 14"/>
                <a:gd name="T5" fmla="*/ 5 h 9"/>
                <a:gd name="T6" fmla="*/ 5 w 14"/>
                <a:gd name="T7" fmla="*/ 9 h 9"/>
                <a:gd name="T8" fmla="*/ 9 w 14"/>
                <a:gd name="T9" fmla="*/ 9 h 9"/>
                <a:gd name="T10" fmla="*/ 14 w 14"/>
                <a:gd name="T11" fmla="*/ 5 h 9"/>
                <a:gd name="T12" fmla="*/ 9 w 14"/>
                <a:gd name="T13" fmla="*/ 5 h 9"/>
                <a:gd name="T14" fmla="*/ 9 w 14"/>
                <a:gd name="T15" fmla="*/ 0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9"/>
                <a:gd name="T26" fmla="*/ 14 w 14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9">
                  <a:moveTo>
                    <a:pt x="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9"/>
                  </a:lnTo>
                  <a:lnTo>
                    <a:pt x="9" y="9"/>
                  </a:lnTo>
                  <a:lnTo>
                    <a:pt x="14" y="5"/>
                  </a:lnTo>
                  <a:lnTo>
                    <a:pt x="9" y="5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5" name="Freeform 75"/>
            <p:cNvSpPr>
              <a:spLocks/>
            </p:cNvSpPr>
            <p:nvPr/>
          </p:nvSpPr>
          <p:spPr bwMode="gray">
            <a:xfrm>
              <a:off x="3102" y="2797"/>
              <a:ext cx="23" cy="22"/>
            </a:xfrm>
            <a:custGeom>
              <a:avLst/>
              <a:gdLst>
                <a:gd name="T0" fmla="*/ 0 w 23"/>
                <a:gd name="T1" fmla="*/ 22 h 22"/>
                <a:gd name="T2" fmla="*/ 0 w 23"/>
                <a:gd name="T3" fmla="*/ 14 h 22"/>
                <a:gd name="T4" fmla="*/ 0 w 23"/>
                <a:gd name="T5" fmla="*/ 9 h 22"/>
                <a:gd name="T6" fmla="*/ 9 w 23"/>
                <a:gd name="T7" fmla="*/ 5 h 22"/>
                <a:gd name="T8" fmla="*/ 18 w 23"/>
                <a:gd name="T9" fmla="*/ 0 h 22"/>
                <a:gd name="T10" fmla="*/ 23 w 23"/>
                <a:gd name="T11" fmla="*/ 5 h 22"/>
                <a:gd name="T12" fmla="*/ 23 w 23"/>
                <a:gd name="T13" fmla="*/ 18 h 22"/>
                <a:gd name="T14" fmla="*/ 14 w 23"/>
                <a:gd name="T15" fmla="*/ 18 h 22"/>
                <a:gd name="T16" fmla="*/ 9 w 23"/>
                <a:gd name="T17" fmla="*/ 22 h 22"/>
                <a:gd name="T18" fmla="*/ 0 w 23"/>
                <a:gd name="T19" fmla="*/ 22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2"/>
                <a:gd name="T32" fmla="*/ 23 w 23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2">
                  <a:moveTo>
                    <a:pt x="0" y="22"/>
                  </a:moveTo>
                  <a:lnTo>
                    <a:pt x="0" y="14"/>
                  </a:lnTo>
                  <a:lnTo>
                    <a:pt x="0" y="9"/>
                  </a:lnTo>
                  <a:lnTo>
                    <a:pt x="9" y="5"/>
                  </a:lnTo>
                  <a:lnTo>
                    <a:pt x="18" y="0"/>
                  </a:lnTo>
                  <a:lnTo>
                    <a:pt x="23" y="5"/>
                  </a:lnTo>
                  <a:lnTo>
                    <a:pt x="23" y="18"/>
                  </a:lnTo>
                  <a:lnTo>
                    <a:pt x="14" y="18"/>
                  </a:lnTo>
                  <a:lnTo>
                    <a:pt x="9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6" name="Freeform 76"/>
            <p:cNvSpPr>
              <a:spLocks noEditPoints="1"/>
            </p:cNvSpPr>
            <p:nvPr/>
          </p:nvSpPr>
          <p:spPr bwMode="gray">
            <a:xfrm>
              <a:off x="2781" y="2757"/>
              <a:ext cx="13" cy="27"/>
            </a:xfrm>
            <a:custGeom>
              <a:avLst/>
              <a:gdLst>
                <a:gd name="T0" fmla="*/ 4 w 13"/>
                <a:gd name="T1" fmla="*/ 27 h 27"/>
                <a:gd name="T2" fmla="*/ 4 w 13"/>
                <a:gd name="T3" fmla="*/ 22 h 27"/>
                <a:gd name="T4" fmla="*/ 9 w 13"/>
                <a:gd name="T5" fmla="*/ 18 h 27"/>
                <a:gd name="T6" fmla="*/ 4 w 13"/>
                <a:gd name="T7" fmla="*/ 18 h 27"/>
                <a:gd name="T8" fmla="*/ 0 w 13"/>
                <a:gd name="T9" fmla="*/ 22 h 27"/>
                <a:gd name="T10" fmla="*/ 0 w 13"/>
                <a:gd name="T11" fmla="*/ 22 h 27"/>
                <a:gd name="T12" fmla="*/ 4 w 13"/>
                <a:gd name="T13" fmla="*/ 27 h 27"/>
                <a:gd name="T14" fmla="*/ 13 w 13"/>
                <a:gd name="T15" fmla="*/ 0 h 27"/>
                <a:gd name="T16" fmla="*/ 9 w 13"/>
                <a:gd name="T17" fmla="*/ 0 h 27"/>
                <a:gd name="T18" fmla="*/ 13 w 13"/>
                <a:gd name="T19" fmla="*/ 4 h 27"/>
                <a:gd name="T20" fmla="*/ 13 w 13"/>
                <a:gd name="T21" fmla="*/ 0 h 27"/>
                <a:gd name="T22" fmla="*/ 13 w 13"/>
                <a:gd name="T23" fmla="*/ 0 h 2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"/>
                <a:gd name="T37" fmla="*/ 0 h 27"/>
                <a:gd name="T38" fmla="*/ 13 w 13"/>
                <a:gd name="T39" fmla="*/ 27 h 2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" h="27">
                  <a:moveTo>
                    <a:pt x="4" y="27"/>
                  </a:moveTo>
                  <a:lnTo>
                    <a:pt x="4" y="22"/>
                  </a:lnTo>
                  <a:lnTo>
                    <a:pt x="9" y="18"/>
                  </a:lnTo>
                  <a:lnTo>
                    <a:pt x="4" y="18"/>
                  </a:lnTo>
                  <a:lnTo>
                    <a:pt x="0" y="22"/>
                  </a:lnTo>
                  <a:lnTo>
                    <a:pt x="4" y="27"/>
                  </a:lnTo>
                  <a:close/>
                  <a:moveTo>
                    <a:pt x="13" y="0"/>
                  </a:moveTo>
                  <a:lnTo>
                    <a:pt x="9" y="0"/>
                  </a:lnTo>
                  <a:lnTo>
                    <a:pt x="13" y="4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7" name="Freeform 77"/>
            <p:cNvSpPr>
              <a:spLocks/>
            </p:cNvSpPr>
            <p:nvPr/>
          </p:nvSpPr>
          <p:spPr bwMode="gray">
            <a:xfrm>
              <a:off x="2437" y="2533"/>
              <a:ext cx="89" cy="76"/>
            </a:xfrm>
            <a:custGeom>
              <a:avLst/>
              <a:gdLst>
                <a:gd name="T0" fmla="*/ 9 w 89"/>
                <a:gd name="T1" fmla="*/ 54 h 76"/>
                <a:gd name="T2" fmla="*/ 4 w 89"/>
                <a:gd name="T3" fmla="*/ 63 h 76"/>
                <a:gd name="T4" fmla="*/ 9 w 89"/>
                <a:gd name="T5" fmla="*/ 72 h 76"/>
                <a:gd name="T6" fmla="*/ 13 w 89"/>
                <a:gd name="T7" fmla="*/ 72 h 76"/>
                <a:gd name="T8" fmla="*/ 40 w 89"/>
                <a:gd name="T9" fmla="*/ 63 h 76"/>
                <a:gd name="T10" fmla="*/ 53 w 89"/>
                <a:gd name="T11" fmla="*/ 68 h 76"/>
                <a:gd name="T12" fmla="*/ 80 w 89"/>
                <a:gd name="T13" fmla="*/ 68 h 76"/>
                <a:gd name="T14" fmla="*/ 85 w 89"/>
                <a:gd name="T15" fmla="*/ 76 h 76"/>
                <a:gd name="T16" fmla="*/ 89 w 89"/>
                <a:gd name="T17" fmla="*/ 72 h 76"/>
                <a:gd name="T18" fmla="*/ 85 w 89"/>
                <a:gd name="T19" fmla="*/ 59 h 76"/>
                <a:gd name="T20" fmla="*/ 76 w 89"/>
                <a:gd name="T21" fmla="*/ 50 h 76"/>
                <a:gd name="T22" fmla="*/ 71 w 89"/>
                <a:gd name="T23" fmla="*/ 36 h 76"/>
                <a:gd name="T24" fmla="*/ 76 w 89"/>
                <a:gd name="T25" fmla="*/ 27 h 76"/>
                <a:gd name="T26" fmla="*/ 58 w 89"/>
                <a:gd name="T27" fmla="*/ 9 h 76"/>
                <a:gd name="T28" fmla="*/ 49 w 89"/>
                <a:gd name="T29" fmla="*/ 9 h 76"/>
                <a:gd name="T30" fmla="*/ 45 w 89"/>
                <a:gd name="T31" fmla="*/ 0 h 76"/>
                <a:gd name="T32" fmla="*/ 18 w 89"/>
                <a:gd name="T33" fmla="*/ 5 h 76"/>
                <a:gd name="T34" fmla="*/ 13 w 89"/>
                <a:gd name="T35" fmla="*/ 9 h 76"/>
                <a:gd name="T36" fmla="*/ 9 w 89"/>
                <a:gd name="T37" fmla="*/ 14 h 76"/>
                <a:gd name="T38" fmla="*/ 0 w 89"/>
                <a:gd name="T39" fmla="*/ 27 h 76"/>
                <a:gd name="T40" fmla="*/ 9 w 89"/>
                <a:gd name="T41" fmla="*/ 41 h 76"/>
                <a:gd name="T42" fmla="*/ 13 w 89"/>
                <a:gd name="T43" fmla="*/ 45 h 76"/>
                <a:gd name="T44" fmla="*/ 36 w 89"/>
                <a:gd name="T45" fmla="*/ 45 h 76"/>
                <a:gd name="T46" fmla="*/ 45 w 89"/>
                <a:gd name="T47" fmla="*/ 45 h 76"/>
                <a:gd name="T48" fmla="*/ 49 w 89"/>
                <a:gd name="T49" fmla="*/ 50 h 76"/>
                <a:gd name="T50" fmla="*/ 45 w 89"/>
                <a:gd name="T51" fmla="*/ 54 h 76"/>
                <a:gd name="T52" fmla="*/ 36 w 89"/>
                <a:gd name="T53" fmla="*/ 50 h 76"/>
                <a:gd name="T54" fmla="*/ 27 w 89"/>
                <a:gd name="T55" fmla="*/ 59 h 76"/>
                <a:gd name="T56" fmla="*/ 9 w 89"/>
                <a:gd name="T57" fmla="*/ 54 h 7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9"/>
                <a:gd name="T88" fmla="*/ 0 h 76"/>
                <a:gd name="T89" fmla="*/ 89 w 89"/>
                <a:gd name="T90" fmla="*/ 76 h 7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9" h="76">
                  <a:moveTo>
                    <a:pt x="9" y="54"/>
                  </a:moveTo>
                  <a:lnTo>
                    <a:pt x="4" y="63"/>
                  </a:lnTo>
                  <a:lnTo>
                    <a:pt x="9" y="72"/>
                  </a:lnTo>
                  <a:lnTo>
                    <a:pt x="13" y="72"/>
                  </a:lnTo>
                  <a:lnTo>
                    <a:pt x="40" y="63"/>
                  </a:lnTo>
                  <a:lnTo>
                    <a:pt x="53" y="68"/>
                  </a:lnTo>
                  <a:lnTo>
                    <a:pt x="80" y="68"/>
                  </a:lnTo>
                  <a:lnTo>
                    <a:pt x="85" y="76"/>
                  </a:lnTo>
                  <a:lnTo>
                    <a:pt x="89" y="72"/>
                  </a:lnTo>
                  <a:lnTo>
                    <a:pt x="85" y="59"/>
                  </a:lnTo>
                  <a:lnTo>
                    <a:pt x="76" y="50"/>
                  </a:lnTo>
                  <a:lnTo>
                    <a:pt x="71" y="36"/>
                  </a:lnTo>
                  <a:lnTo>
                    <a:pt x="76" y="27"/>
                  </a:lnTo>
                  <a:lnTo>
                    <a:pt x="58" y="9"/>
                  </a:lnTo>
                  <a:lnTo>
                    <a:pt x="49" y="9"/>
                  </a:lnTo>
                  <a:lnTo>
                    <a:pt x="45" y="0"/>
                  </a:lnTo>
                  <a:lnTo>
                    <a:pt x="18" y="5"/>
                  </a:lnTo>
                  <a:lnTo>
                    <a:pt x="13" y="9"/>
                  </a:lnTo>
                  <a:lnTo>
                    <a:pt x="9" y="14"/>
                  </a:lnTo>
                  <a:lnTo>
                    <a:pt x="0" y="27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36" y="45"/>
                  </a:lnTo>
                  <a:lnTo>
                    <a:pt x="45" y="45"/>
                  </a:lnTo>
                  <a:lnTo>
                    <a:pt x="49" y="50"/>
                  </a:lnTo>
                  <a:lnTo>
                    <a:pt x="45" y="54"/>
                  </a:lnTo>
                  <a:lnTo>
                    <a:pt x="36" y="50"/>
                  </a:lnTo>
                  <a:lnTo>
                    <a:pt x="27" y="59"/>
                  </a:lnTo>
                  <a:lnTo>
                    <a:pt x="9" y="5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8" name="Freeform 78"/>
            <p:cNvSpPr>
              <a:spLocks/>
            </p:cNvSpPr>
            <p:nvPr/>
          </p:nvSpPr>
          <p:spPr bwMode="gray">
            <a:xfrm>
              <a:off x="2490" y="2636"/>
              <a:ext cx="45" cy="45"/>
            </a:xfrm>
            <a:custGeom>
              <a:avLst/>
              <a:gdLst>
                <a:gd name="T0" fmla="*/ 0 w 45"/>
                <a:gd name="T1" fmla="*/ 14 h 45"/>
                <a:gd name="T2" fmla="*/ 5 w 45"/>
                <a:gd name="T3" fmla="*/ 27 h 45"/>
                <a:gd name="T4" fmla="*/ 9 w 45"/>
                <a:gd name="T5" fmla="*/ 27 h 45"/>
                <a:gd name="T6" fmla="*/ 9 w 45"/>
                <a:gd name="T7" fmla="*/ 36 h 45"/>
                <a:gd name="T8" fmla="*/ 27 w 45"/>
                <a:gd name="T9" fmla="*/ 45 h 45"/>
                <a:gd name="T10" fmla="*/ 32 w 45"/>
                <a:gd name="T11" fmla="*/ 40 h 45"/>
                <a:gd name="T12" fmla="*/ 41 w 45"/>
                <a:gd name="T13" fmla="*/ 36 h 45"/>
                <a:gd name="T14" fmla="*/ 41 w 45"/>
                <a:gd name="T15" fmla="*/ 32 h 45"/>
                <a:gd name="T16" fmla="*/ 45 w 45"/>
                <a:gd name="T17" fmla="*/ 32 h 45"/>
                <a:gd name="T18" fmla="*/ 45 w 45"/>
                <a:gd name="T19" fmla="*/ 23 h 45"/>
                <a:gd name="T20" fmla="*/ 41 w 45"/>
                <a:gd name="T21" fmla="*/ 23 h 45"/>
                <a:gd name="T22" fmla="*/ 41 w 45"/>
                <a:gd name="T23" fmla="*/ 14 h 45"/>
                <a:gd name="T24" fmla="*/ 36 w 45"/>
                <a:gd name="T25" fmla="*/ 5 h 45"/>
                <a:gd name="T26" fmla="*/ 32 w 45"/>
                <a:gd name="T27" fmla="*/ 0 h 45"/>
                <a:gd name="T28" fmla="*/ 14 w 45"/>
                <a:gd name="T29" fmla="*/ 5 h 45"/>
                <a:gd name="T30" fmla="*/ 9 w 45"/>
                <a:gd name="T31" fmla="*/ 9 h 45"/>
                <a:gd name="T32" fmla="*/ 0 w 45"/>
                <a:gd name="T33" fmla="*/ 14 h 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5"/>
                <a:gd name="T52" fmla="*/ 0 h 45"/>
                <a:gd name="T53" fmla="*/ 45 w 45"/>
                <a:gd name="T54" fmla="*/ 45 h 4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5" h="45">
                  <a:moveTo>
                    <a:pt x="0" y="14"/>
                  </a:moveTo>
                  <a:lnTo>
                    <a:pt x="5" y="27"/>
                  </a:lnTo>
                  <a:lnTo>
                    <a:pt x="9" y="27"/>
                  </a:lnTo>
                  <a:lnTo>
                    <a:pt x="9" y="36"/>
                  </a:lnTo>
                  <a:lnTo>
                    <a:pt x="27" y="45"/>
                  </a:lnTo>
                  <a:lnTo>
                    <a:pt x="32" y="40"/>
                  </a:lnTo>
                  <a:lnTo>
                    <a:pt x="41" y="36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5" y="23"/>
                  </a:lnTo>
                  <a:lnTo>
                    <a:pt x="41" y="23"/>
                  </a:lnTo>
                  <a:lnTo>
                    <a:pt x="41" y="14"/>
                  </a:lnTo>
                  <a:lnTo>
                    <a:pt x="36" y="5"/>
                  </a:lnTo>
                  <a:lnTo>
                    <a:pt x="32" y="0"/>
                  </a:lnTo>
                  <a:lnTo>
                    <a:pt x="14" y="5"/>
                  </a:lnTo>
                  <a:lnTo>
                    <a:pt x="9" y="9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199" name="Freeform 79"/>
            <p:cNvSpPr>
              <a:spLocks/>
            </p:cNvSpPr>
            <p:nvPr/>
          </p:nvSpPr>
          <p:spPr bwMode="gray">
            <a:xfrm>
              <a:off x="3272" y="2605"/>
              <a:ext cx="152" cy="201"/>
            </a:xfrm>
            <a:custGeom>
              <a:avLst/>
              <a:gdLst>
                <a:gd name="T0" fmla="*/ 9 w 152"/>
                <a:gd name="T1" fmla="*/ 201 h 201"/>
                <a:gd name="T2" fmla="*/ 31 w 152"/>
                <a:gd name="T3" fmla="*/ 179 h 201"/>
                <a:gd name="T4" fmla="*/ 58 w 152"/>
                <a:gd name="T5" fmla="*/ 147 h 201"/>
                <a:gd name="T6" fmla="*/ 63 w 152"/>
                <a:gd name="T7" fmla="*/ 147 h 201"/>
                <a:gd name="T8" fmla="*/ 72 w 152"/>
                <a:gd name="T9" fmla="*/ 139 h 201"/>
                <a:gd name="T10" fmla="*/ 85 w 152"/>
                <a:gd name="T11" fmla="*/ 134 h 201"/>
                <a:gd name="T12" fmla="*/ 116 w 152"/>
                <a:gd name="T13" fmla="*/ 94 h 201"/>
                <a:gd name="T14" fmla="*/ 130 w 152"/>
                <a:gd name="T15" fmla="*/ 63 h 201"/>
                <a:gd name="T16" fmla="*/ 143 w 152"/>
                <a:gd name="T17" fmla="*/ 45 h 201"/>
                <a:gd name="T18" fmla="*/ 139 w 152"/>
                <a:gd name="T19" fmla="*/ 40 h 201"/>
                <a:gd name="T20" fmla="*/ 148 w 152"/>
                <a:gd name="T21" fmla="*/ 27 h 201"/>
                <a:gd name="T22" fmla="*/ 152 w 152"/>
                <a:gd name="T23" fmla="*/ 22 h 201"/>
                <a:gd name="T24" fmla="*/ 148 w 152"/>
                <a:gd name="T25" fmla="*/ 22 h 201"/>
                <a:gd name="T26" fmla="*/ 148 w 152"/>
                <a:gd name="T27" fmla="*/ 0 h 201"/>
                <a:gd name="T28" fmla="*/ 139 w 152"/>
                <a:gd name="T29" fmla="*/ 0 h 201"/>
                <a:gd name="T30" fmla="*/ 134 w 152"/>
                <a:gd name="T31" fmla="*/ 4 h 201"/>
                <a:gd name="T32" fmla="*/ 130 w 152"/>
                <a:gd name="T33" fmla="*/ 4 h 201"/>
                <a:gd name="T34" fmla="*/ 103 w 152"/>
                <a:gd name="T35" fmla="*/ 13 h 201"/>
                <a:gd name="T36" fmla="*/ 89 w 152"/>
                <a:gd name="T37" fmla="*/ 13 h 201"/>
                <a:gd name="T38" fmla="*/ 81 w 152"/>
                <a:gd name="T39" fmla="*/ 22 h 201"/>
                <a:gd name="T40" fmla="*/ 67 w 152"/>
                <a:gd name="T41" fmla="*/ 18 h 201"/>
                <a:gd name="T42" fmla="*/ 54 w 152"/>
                <a:gd name="T43" fmla="*/ 22 h 201"/>
                <a:gd name="T44" fmla="*/ 36 w 152"/>
                <a:gd name="T45" fmla="*/ 9 h 201"/>
                <a:gd name="T46" fmla="*/ 31 w 152"/>
                <a:gd name="T47" fmla="*/ 13 h 201"/>
                <a:gd name="T48" fmla="*/ 27 w 152"/>
                <a:gd name="T49" fmla="*/ 22 h 201"/>
                <a:gd name="T50" fmla="*/ 36 w 152"/>
                <a:gd name="T51" fmla="*/ 36 h 201"/>
                <a:gd name="T52" fmla="*/ 45 w 152"/>
                <a:gd name="T53" fmla="*/ 45 h 201"/>
                <a:gd name="T54" fmla="*/ 81 w 152"/>
                <a:gd name="T55" fmla="*/ 63 h 201"/>
                <a:gd name="T56" fmla="*/ 103 w 152"/>
                <a:gd name="T57" fmla="*/ 63 h 201"/>
                <a:gd name="T58" fmla="*/ 54 w 152"/>
                <a:gd name="T59" fmla="*/ 103 h 201"/>
                <a:gd name="T60" fmla="*/ 27 w 152"/>
                <a:gd name="T61" fmla="*/ 107 h 201"/>
                <a:gd name="T62" fmla="*/ 18 w 152"/>
                <a:gd name="T63" fmla="*/ 116 h 201"/>
                <a:gd name="T64" fmla="*/ 0 w 152"/>
                <a:gd name="T65" fmla="*/ 130 h 201"/>
                <a:gd name="T66" fmla="*/ 5 w 152"/>
                <a:gd name="T67" fmla="*/ 183 h 201"/>
                <a:gd name="T68" fmla="*/ 9 w 152"/>
                <a:gd name="T69" fmla="*/ 201 h 20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52"/>
                <a:gd name="T106" fmla="*/ 0 h 201"/>
                <a:gd name="T107" fmla="*/ 152 w 152"/>
                <a:gd name="T108" fmla="*/ 201 h 20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52" h="201">
                  <a:moveTo>
                    <a:pt x="9" y="201"/>
                  </a:moveTo>
                  <a:lnTo>
                    <a:pt x="31" y="179"/>
                  </a:lnTo>
                  <a:lnTo>
                    <a:pt x="58" y="147"/>
                  </a:lnTo>
                  <a:lnTo>
                    <a:pt x="63" y="147"/>
                  </a:lnTo>
                  <a:lnTo>
                    <a:pt x="72" y="139"/>
                  </a:lnTo>
                  <a:lnTo>
                    <a:pt x="85" y="134"/>
                  </a:lnTo>
                  <a:lnTo>
                    <a:pt x="116" y="94"/>
                  </a:lnTo>
                  <a:lnTo>
                    <a:pt x="130" y="63"/>
                  </a:lnTo>
                  <a:lnTo>
                    <a:pt x="143" y="45"/>
                  </a:lnTo>
                  <a:lnTo>
                    <a:pt x="139" y="40"/>
                  </a:lnTo>
                  <a:lnTo>
                    <a:pt x="148" y="27"/>
                  </a:lnTo>
                  <a:lnTo>
                    <a:pt x="152" y="22"/>
                  </a:lnTo>
                  <a:lnTo>
                    <a:pt x="148" y="22"/>
                  </a:lnTo>
                  <a:lnTo>
                    <a:pt x="148" y="0"/>
                  </a:lnTo>
                  <a:lnTo>
                    <a:pt x="139" y="0"/>
                  </a:lnTo>
                  <a:lnTo>
                    <a:pt x="134" y="4"/>
                  </a:lnTo>
                  <a:lnTo>
                    <a:pt x="130" y="4"/>
                  </a:lnTo>
                  <a:lnTo>
                    <a:pt x="103" y="13"/>
                  </a:lnTo>
                  <a:lnTo>
                    <a:pt x="89" y="13"/>
                  </a:lnTo>
                  <a:lnTo>
                    <a:pt x="81" y="22"/>
                  </a:lnTo>
                  <a:lnTo>
                    <a:pt x="67" y="18"/>
                  </a:lnTo>
                  <a:lnTo>
                    <a:pt x="54" y="22"/>
                  </a:lnTo>
                  <a:lnTo>
                    <a:pt x="36" y="9"/>
                  </a:lnTo>
                  <a:lnTo>
                    <a:pt x="31" y="13"/>
                  </a:lnTo>
                  <a:lnTo>
                    <a:pt x="27" y="22"/>
                  </a:lnTo>
                  <a:lnTo>
                    <a:pt x="36" y="36"/>
                  </a:lnTo>
                  <a:lnTo>
                    <a:pt x="45" y="45"/>
                  </a:lnTo>
                  <a:lnTo>
                    <a:pt x="81" y="63"/>
                  </a:lnTo>
                  <a:lnTo>
                    <a:pt x="103" y="63"/>
                  </a:lnTo>
                  <a:lnTo>
                    <a:pt x="54" y="103"/>
                  </a:lnTo>
                  <a:lnTo>
                    <a:pt x="27" y="107"/>
                  </a:lnTo>
                  <a:lnTo>
                    <a:pt x="18" y="116"/>
                  </a:lnTo>
                  <a:lnTo>
                    <a:pt x="0" y="130"/>
                  </a:lnTo>
                  <a:lnTo>
                    <a:pt x="5" y="183"/>
                  </a:lnTo>
                  <a:lnTo>
                    <a:pt x="9" y="20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0" name="Freeform 80"/>
            <p:cNvSpPr>
              <a:spLocks noEditPoints="1"/>
            </p:cNvSpPr>
            <p:nvPr/>
          </p:nvSpPr>
          <p:spPr bwMode="gray">
            <a:xfrm>
              <a:off x="2915" y="3110"/>
              <a:ext cx="241" cy="214"/>
            </a:xfrm>
            <a:custGeom>
              <a:avLst/>
              <a:gdLst>
                <a:gd name="T0" fmla="*/ 9 w 241"/>
                <a:gd name="T1" fmla="*/ 112 h 214"/>
                <a:gd name="T2" fmla="*/ 27 w 241"/>
                <a:gd name="T3" fmla="*/ 174 h 214"/>
                <a:gd name="T4" fmla="*/ 31 w 241"/>
                <a:gd name="T5" fmla="*/ 192 h 214"/>
                <a:gd name="T6" fmla="*/ 31 w 241"/>
                <a:gd name="T7" fmla="*/ 210 h 214"/>
                <a:gd name="T8" fmla="*/ 53 w 241"/>
                <a:gd name="T9" fmla="*/ 214 h 214"/>
                <a:gd name="T10" fmla="*/ 80 w 241"/>
                <a:gd name="T11" fmla="*/ 206 h 214"/>
                <a:gd name="T12" fmla="*/ 98 w 241"/>
                <a:gd name="T13" fmla="*/ 201 h 214"/>
                <a:gd name="T14" fmla="*/ 125 w 241"/>
                <a:gd name="T15" fmla="*/ 201 h 214"/>
                <a:gd name="T16" fmla="*/ 134 w 241"/>
                <a:gd name="T17" fmla="*/ 192 h 214"/>
                <a:gd name="T18" fmla="*/ 156 w 241"/>
                <a:gd name="T19" fmla="*/ 192 h 214"/>
                <a:gd name="T20" fmla="*/ 174 w 241"/>
                <a:gd name="T21" fmla="*/ 174 h 214"/>
                <a:gd name="T22" fmla="*/ 205 w 241"/>
                <a:gd name="T23" fmla="*/ 147 h 214"/>
                <a:gd name="T24" fmla="*/ 232 w 241"/>
                <a:gd name="T25" fmla="*/ 112 h 214"/>
                <a:gd name="T26" fmla="*/ 237 w 241"/>
                <a:gd name="T27" fmla="*/ 94 h 214"/>
                <a:gd name="T28" fmla="*/ 241 w 241"/>
                <a:gd name="T29" fmla="*/ 89 h 214"/>
                <a:gd name="T30" fmla="*/ 228 w 241"/>
                <a:gd name="T31" fmla="*/ 80 h 214"/>
                <a:gd name="T32" fmla="*/ 210 w 241"/>
                <a:gd name="T33" fmla="*/ 85 h 214"/>
                <a:gd name="T34" fmla="*/ 210 w 241"/>
                <a:gd name="T35" fmla="*/ 63 h 214"/>
                <a:gd name="T36" fmla="*/ 223 w 241"/>
                <a:gd name="T37" fmla="*/ 63 h 214"/>
                <a:gd name="T38" fmla="*/ 228 w 241"/>
                <a:gd name="T39" fmla="*/ 58 h 214"/>
                <a:gd name="T40" fmla="*/ 223 w 241"/>
                <a:gd name="T41" fmla="*/ 13 h 214"/>
                <a:gd name="T42" fmla="*/ 201 w 241"/>
                <a:gd name="T43" fmla="*/ 0 h 214"/>
                <a:gd name="T44" fmla="*/ 187 w 241"/>
                <a:gd name="T45" fmla="*/ 4 h 214"/>
                <a:gd name="T46" fmla="*/ 152 w 241"/>
                <a:gd name="T47" fmla="*/ 31 h 214"/>
                <a:gd name="T48" fmla="*/ 138 w 241"/>
                <a:gd name="T49" fmla="*/ 45 h 214"/>
                <a:gd name="T50" fmla="*/ 111 w 241"/>
                <a:gd name="T51" fmla="*/ 63 h 214"/>
                <a:gd name="T52" fmla="*/ 103 w 241"/>
                <a:gd name="T53" fmla="*/ 54 h 214"/>
                <a:gd name="T54" fmla="*/ 85 w 241"/>
                <a:gd name="T55" fmla="*/ 76 h 214"/>
                <a:gd name="T56" fmla="*/ 62 w 241"/>
                <a:gd name="T57" fmla="*/ 71 h 214"/>
                <a:gd name="T58" fmla="*/ 53 w 241"/>
                <a:gd name="T59" fmla="*/ 45 h 214"/>
                <a:gd name="T60" fmla="*/ 44 w 241"/>
                <a:gd name="T61" fmla="*/ 107 h 214"/>
                <a:gd name="T62" fmla="*/ 27 w 241"/>
                <a:gd name="T63" fmla="*/ 112 h 214"/>
                <a:gd name="T64" fmla="*/ 13 w 241"/>
                <a:gd name="T65" fmla="*/ 103 h 214"/>
                <a:gd name="T66" fmla="*/ 0 w 241"/>
                <a:gd name="T67" fmla="*/ 107 h 214"/>
                <a:gd name="T68" fmla="*/ 170 w 241"/>
                <a:gd name="T69" fmla="*/ 138 h 214"/>
                <a:gd name="T70" fmla="*/ 187 w 241"/>
                <a:gd name="T71" fmla="*/ 130 h 214"/>
                <a:gd name="T72" fmla="*/ 183 w 241"/>
                <a:gd name="T73" fmla="*/ 107 h 214"/>
                <a:gd name="T74" fmla="*/ 156 w 241"/>
                <a:gd name="T75" fmla="*/ 121 h 21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1"/>
                <a:gd name="T115" fmla="*/ 0 h 214"/>
                <a:gd name="T116" fmla="*/ 241 w 241"/>
                <a:gd name="T117" fmla="*/ 214 h 21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1" h="214">
                  <a:moveTo>
                    <a:pt x="0" y="107"/>
                  </a:moveTo>
                  <a:lnTo>
                    <a:pt x="9" y="112"/>
                  </a:lnTo>
                  <a:lnTo>
                    <a:pt x="27" y="156"/>
                  </a:lnTo>
                  <a:lnTo>
                    <a:pt x="27" y="174"/>
                  </a:lnTo>
                  <a:lnTo>
                    <a:pt x="22" y="174"/>
                  </a:lnTo>
                  <a:lnTo>
                    <a:pt x="31" y="192"/>
                  </a:lnTo>
                  <a:lnTo>
                    <a:pt x="27" y="197"/>
                  </a:lnTo>
                  <a:lnTo>
                    <a:pt x="31" y="210"/>
                  </a:lnTo>
                  <a:lnTo>
                    <a:pt x="36" y="206"/>
                  </a:lnTo>
                  <a:lnTo>
                    <a:pt x="53" y="214"/>
                  </a:lnTo>
                  <a:lnTo>
                    <a:pt x="58" y="206"/>
                  </a:lnTo>
                  <a:lnTo>
                    <a:pt x="80" y="206"/>
                  </a:lnTo>
                  <a:lnTo>
                    <a:pt x="80" y="201"/>
                  </a:lnTo>
                  <a:lnTo>
                    <a:pt x="98" y="201"/>
                  </a:lnTo>
                  <a:lnTo>
                    <a:pt x="120" y="206"/>
                  </a:lnTo>
                  <a:lnTo>
                    <a:pt x="125" y="201"/>
                  </a:lnTo>
                  <a:lnTo>
                    <a:pt x="138" y="201"/>
                  </a:lnTo>
                  <a:lnTo>
                    <a:pt x="134" y="192"/>
                  </a:lnTo>
                  <a:lnTo>
                    <a:pt x="152" y="197"/>
                  </a:lnTo>
                  <a:lnTo>
                    <a:pt x="156" y="192"/>
                  </a:lnTo>
                  <a:lnTo>
                    <a:pt x="161" y="183"/>
                  </a:lnTo>
                  <a:lnTo>
                    <a:pt x="174" y="174"/>
                  </a:lnTo>
                  <a:lnTo>
                    <a:pt x="192" y="156"/>
                  </a:lnTo>
                  <a:lnTo>
                    <a:pt x="205" y="147"/>
                  </a:lnTo>
                  <a:lnTo>
                    <a:pt x="223" y="116"/>
                  </a:lnTo>
                  <a:lnTo>
                    <a:pt x="232" y="112"/>
                  </a:lnTo>
                  <a:lnTo>
                    <a:pt x="237" y="103"/>
                  </a:lnTo>
                  <a:lnTo>
                    <a:pt x="237" y="94"/>
                  </a:lnTo>
                  <a:lnTo>
                    <a:pt x="237" y="85"/>
                  </a:lnTo>
                  <a:lnTo>
                    <a:pt x="241" y="89"/>
                  </a:lnTo>
                  <a:lnTo>
                    <a:pt x="241" y="76"/>
                  </a:lnTo>
                  <a:lnTo>
                    <a:pt x="228" y="80"/>
                  </a:lnTo>
                  <a:lnTo>
                    <a:pt x="223" y="85"/>
                  </a:lnTo>
                  <a:lnTo>
                    <a:pt x="210" y="85"/>
                  </a:lnTo>
                  <a:lnTo>
                    <a:pt x="205" y="80"/>
                  </a:lnTo>
                  <a:lnTo>
                    <a:pt x="210" y="63"/>
                  </a:lnTo>
                  <a:lnTo>
                    <a:pt x="219" y="58"/>
                  </a:lnTo>
                  <a:lnTo>
                    <a:pt x="223" y="63"/>
                  </a:lnTo>
                  <a:lnTo>
                    <a:pt x="228" y="63"/>
                  </a:lnTo>
                  <a:lnTo>
                    <a:pt x="228" y="58"/>
                  </a:lnTo>
                  <a:lnTo>
                    <a:pt x="228" y="49"/>
                  </a:lnTo>
                  <a:lnTo>
                    <a:pt x="223" y="13"/>
                  </a:lnTo>
                  <a:lnTo>
                    <a:pt x="223" y="9"/>
                  </a:lnTo>
                  <a:lnTo>
                    <a:pt x="201" y="0"/>
                  </a:lnTo>
                  <a:lnTo>
                    <a:pt x="192" y="0"/>
                  </a:lnTo>
                  <a:lnTo>
                    <a:pt x="187" y="4"/>
                  </a:lnTo>
                  <a:lnTo>
                    <a:pt x="174" y="9"/>
                  </a:lnTo>
                  <a:lnTo>
                    <a:pt x="152" y="31"/>
                  </a:lnTo>
                  <a:lnTo>
                    <a:pt x="152" y="36"/>
                  </a:lnTo>
                  <a:lnTo>
                    <a:pt x="138" y="45"/>
                  </a:lnTo>
                  <a:lnTo>
                    <a:pt x="134" y="58"/>
                  </a:lnTo>
                  <a:lnTo>
                    <a:pt x="111" y="63"/>
                  </a:lnTo>
                  <a:lnTo>
                    <a:pt x="107" y="58"/>
                  </a:lnTo>
                  <a:lnTo>
                    <a:pt x="103" y="54"/>
                  </a:lnTo>
                  <a:lnTo>
                    <a:pt x="98" y="54"/>
                  </a:lnTo>
                  <a:lnTo>
                    <a:pt x="85" y="76"/>
                  </a:lnTo>
                  <a:lnTo>
                    <a:pt x="62" y="80"/>
                  </a:lnTo>
                  <a:lnTo>
                    <a:pt x="62" y="71"/>
                  </a:lnTo>
                  <a:lnTo>
                    <a:pt x="62" y="63"/>
                  </a:lnTo>
                  <a:lnTo>
                    <a:pt x="53" y="45"/>
                  </a:lnTo>
                  <a:lnTo>
                    <a:pt x="53" y="107"/>
                  </a:lnTo>
                  <a:lnTo>
                    <a:pt x="44" y="107"/>
                  </a:lnTo>
                  <a:lnTo>
                    <a:pt x="44" y="116"/>
                  </a:lnTo>
                  <a:lnTo>
                    <a:pt x="27" y="112"/>
                  </a:lnTo>
                  <a:lnTo>
                    <a:pt x="13" y="112"/>
                  </a:lnTo>
                  <a:lnTo>
                    <a:pt x="13" y="103"/>
                  </a:lnTo>
                  <a:lnTo>
                    <a:pt x="9" y="103"/>
                  </a:lnTo>
                  <a:lnTo>
                    <a:pt x="0" y="107"/>
                  </a:lnTo>
                  <a:close/>
                  <a:moveTo>
                    <a:pt x="165" y="134"/>
                  </a:moveTo>
                  <a:lnTo>
                    <a:pt x="170" y="138"/>
                  </a:lnTo>
                  <a:lnTo>
                    <a:pt x="174" y="134"/>
                  </a:lnTo>
                  <a:lnTo>
                    <a:pt x="187" y="130"/>
                  </a:lnTo>
                  <a:lnTo>
                    <a:pt x="196" y="121"/>
                  </a:lnTo>
                  <a:lnTo>
                    <a:pt x="183" y="107"/>
                  </a:lnTo>
                  <a:lnTo>
                    <a:pt x="165" y="112"/>
                  </a:lnTo>
                  <a:lnTo>
                    <a:pt x="156" y="121"/>
                  </a:lnTo>
                  <a:lnTo>
                    <a:pt x="165" y="13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1" name="Freeform 81"/>
            <p:cNvSpPr>
              <a:spLocks/>
            </p:cNvSpPr>
            <p:nvPr/>
          </p:nvSpPr>
          <p:spPr bwMode="gray">
            <a:xfrm>
              <a:off x="3040" y="3012"/>
              <a:ext cx="120" cy="107"/>
            </a:xfrm>
            <a:custGeom>
              <a:avLst/>
              <a:gdLst>
                <a:gd name="T0" fmla="*/ 67 w 120"/>
                <a:gd name="T1" fmla="*/ 98 h 107"/>
                <a:gd name="T2" fmla="*/ 67 w 120"/>
                <a:gd name="T3" fmla="*/ 93 h 107"/>
                <a:gd name="T4" fmla="*/ 53 w 120"/>
                <a:gd name="T5" fmla="*/ 93 h 107"/>
                <a:gd name="T6" fmla="*/ 40 w 120"/>
                <a:gd name="T7" fmla="*/ 76 h 107"/>
                <a:gd name="T8" fmla="*/ 13 w 120"/>
                <a:gd name="T9" fmla="*/ 53 h 107"/>
                <a:gd name="T10" fmla="*/ 0 w 120"/>
                <a:gd name="T11" fmla="*/ 31 h 107"/>
                <a:gd name="T12" fmla="*/ 27 w 120"/>
                <a:gd name="T13" fmla="*/ 35 h 107"/>
                <a:gd name="T14" fmla="*/ 45 w 120"/>
                <a:gd name="T15" fmla="*/ 18 h 107"/>
                <a:gd name="T16" fmla="*/ 58 w 120"/>
                <a:gd name="T17" fmla="*/ 9 h 107"/>
                <a:gd name="T18" fmla="*/ 62 w 120"/>
                <a:gd name="T19" fmla="*/ 4 h 107"/>
                <a:gd name="T20" fmla="*/ 80 w 120"/>
                <a:gd name="T21" fmla="*/ 0 h 107"/>
                <a:gd name="T22" fmla="*/ 85 w 120"/>
                <a:gd name="T23" fmla="*/ 4 h 107"/>
                <a:gd name="T24" fmla="*/ 98 w 120"/>
                <a:gd name="T25" fmla="*/ 4 h 107"/>
                <a:gd name="T26" fmla="*/ 116 w 120"/>
                <a:gd name="T27" fmla="*/ 13 h 107"/>
                <a:gd name="T28" fmla="*/ 120 w 120"/>
                <a:gd name="T29" fmla="*/ 49 h 107"/>
                <a:gd name="T30" fmla="*/ 116 w 120"/>
                <a:gd name="T31" fmla="*/ 58 h 107"/>
                <a:gd name="T32" fmla="*/ 120 w 120"/>
                <a:gd name="T33" fmla="*/ 67 h 107"/>
                <a:gd name="T34" fmla="*/ 112 w 120"/>
                <a:gd name="T35" fmla="*/ 89 h 107"/>
                <a:gd name="T36" fmla="*/ 98 w 120"/>
                <a:gd name="T37" fmla="*/ 107 h 107"/>
                <a:gd name="T38" fmla="*/ 76 w 120"/>
                <a:gd name="T39" fmla="*/ 98 h 107"/>
                <a:gd name="T40" fmla="*/ 67 w 120"/>
                <a:gd name="T41" fmla="*/ 98 h 10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0"/>
                <a:gd name="T64" fmla="*/ 0 h 107"/>
                <a:gd name="T65" fmla="*/ 120 w 120"/>
                <a:gd name="T66" fmla="*/ 107 h 10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0" h="107">
                  <a:moveTo>
                    <a:pt x="67" y="98"/>
                  </a:moveTo>
                  <a:lnTo>
                    <a:pt x="67" y="93"/>
                  </a:lnTo>
                  <a:lnTo>
                    <a:pt x="53" y="93"/>
                  </a:lnTo>
                  <a:lnTo>
                    <a:pt x="40" y="76"/>
                  </a:lnTo>
                  <a:lnTo>
                    <a:pt x="13" y="53"/>
                  </a:lnTo>
                  <a:lnTo>
                    <a:pt x="0" y="31"/>
                  </a:lnTo>
                  <a:lnTo>
                    <a:pt x="27" y="35"/>
                  </a:lnTo>
                  <a:lnTo>
                    <a:pt x="45" y="18"/>
                  </a:lnTo>
                  <a:lnTo>
                    <a:pt x="58" y="9"/>
                  </a:lnTo>
                  <a:lnTo>
                    <a:pt x="62" y="4"/>
                  </a:lnTo>
                  <a:lnTo>
                    <a:pt x="80" y="0"/>
                  </a:lnTo>
                  <a:lnTo>
                    <a:pt x="85" y="4"/>
                  </a:lnTo>
                  <a:lnTo>
                    <a:pt x="98" y="4"/>
                  </a:lnTo>
                  <a:lnTo>
                    <a:pt x="116" y="13"/>
                  </a:lnTo>
                  <a:lnTo>
                    <a:pt x="120" y="49"/>
                  </a:lnTo>
                  <a:lnTo>
                    <a:pt x="116" y="58"/>
                  </a:lnTo>
                  <a:lnTo>
                    <a:pt x="120" y="67"/>
                  </a:lnTo>
                  <a:lnTo>
                    <a:pt x="112" y="89"/>
                  </a:lnTo>
                  <a:lnTo>
                    <a:pt x="98" y="107"/>
                  </a:lnTo>
                  <a:lnTo>
                    <a:pt x="76" y="98"/>
                  </a:lnTo>
                  <a:lnTo>
                    <a:pt x="67" y="98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2" name="Freeform 82"/>
            <p:cNvSpPr>
              <a:spLocks/>
            </p:cNvSpPr>
            <p:nvPr/>
          </p:nvSpPr>
          <p:spPr bwMode="gray">
            <a:xfrm>
              <a:off x="2441" y="2359"/>
              <a:ext cx="116" cy="107"/>
            </a:xfrm>
            <a:custGeom>
              <a:avLst/>
              <a:gdLst>
                <a:gd name="T0" fmla="*/ 54 w 116"/>
                <a:gd name="T1" fmla="*/ 0 h 107"/>
                <a:gd name="T2" fmla="*/ 45 w 116"/>
                <a:gd name="T3" fmla="*/ 23 h 107"/>
                <a:gd name="T4" fmla="*/ 36 w 116"/>
                <a:gd name="T5" fmla="*/ 27 h 107"/>
                <a:gd name="T6" fmla="*/ 36 w 116"/>
                <a:gd name="T7" fmla="*/ 36 h 107"/>
                <a:gd name="T8" fmla="*/ 27 w 116"/>
                <a:gd name="T9" fmla="*/ 49 h 107"/>
                <a:gd name="T10" fmla="*/ 14 w 116"/>
                <a:gd name="T11" fmla="*/ 58 h 107"/>
                <a:gd name="T12" fmla="*/ 9 w 116"/>
                <a:gd name="T13" fmla="*/ 72 h 107"/>
                <a:gd name="T14" fmla="*/ 9 w 116"/>
                <a:gd name="T15" fmla="*/ 76 h 107"/>
                <a:gd name="T16" fmla="*/ 0 w 116"/>
                <a:gd name="T17" fmla="*/ 90 h 107"/>
                <a:gd name="T18" fmla="*/ 0 w 116"/>
                <a:gd name="T19" fmla="*/ 94 h 107"/>
                <a:gd name="T20" fmla="*/ 0 w 116"/>
                <a:gd name="T21" fmla="*/ 103 h 107"/>
                <a:gd name="T22" fmla="*/ 5 w 116"/>
                <a:gd name="T23" fmla="*/ 107 h 107"/>
                <a:gd name="T24" fmla="*/ 54 w 116"/>
                <a:gd name="T25" fmla="*/ 103 h 107"/>
                <a:gd name="T26" fmla="*/ 54 w 116"/>
                <a:gd name="T27" fmla="*/ 76 h 107"/>
                <a:gd name="T28" fmla="*/ 58 w 116"/>
                <a:gd name="T29" fmla="*/ 72 h 107"/>
                <a:gd name="T30" fmla="*/ 67 w 116"/>
                <a:gd name="T31" fmla="*/ 72 h 107"/>
                <a:gd name="T32" fmla="*/ 72 w 116"/>
                <a:gd name="T33" fmla="*/ 31 h 107"/>
                <a:gd name="T34" fmla="*/ 116 w 116"/>
                <a:gd name="T35" fmla="*/ 31 h 107"/>
                <a:gd name="T36" fmla="*/ 116 w 116"/>
                <a:gd name="T37" fmla="*/ 14 h 107"/>
                <a:gd name="T38" fmla="*/ 116 w 116"/>
                <a:gd name="T39" fmla="*/ 5 h 107"/>
                <a:gd name="T40" fmla="*/ 54 w 116"/>
                <a:gd name="T41" fmla="*/ 0 h 10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6"/>
                <a:gd name="T64" fmla="*/ 0 h 107"/>
                <a:gd name="T65" fmla="*/ 116 w 116"/>
                <a:gd name="T66" fmla="*/ 107 h 10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6" h="107">
                  <a:moveTo>
                    <a:pt x="54" y="0"/>
                  </a:moveTo>
                  <a:lnTo>
                    <a:pt x="45" y="23"/>
                  </a:lnTo>
                  <a:lnTo>
                    <a:pt x="36" y="27"/>
                  </a:lnTo>
                  <a:lnTo>
                    <a:pt x="36" y="36"/>
                  </a:lnTo>
                  <a:lnTo>
                    <a:pt x="27" y="49"/>
                  </a:lnTo>
                  <a:lnTo>
                    <a:pt x="14" y="58"/>
                  </a:lnTo>
                  <a:lnTo>
                    <a:pt x="9" y="72"/>
                  </a:lnTo>
                  <a:lnTo>
                    <a:pt x="9" y="76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0" y="103"/>
                  </a:lnTo>
                  <a:lnTo>
                    <a:pt x="5" y="107"/>
                  </a:lnTo>
                  <a:lnTo>
                    <a:pt x="54" y="103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67" y="72"/>
                  </a:lnTo>
                  <a:lnTo>
                    <a:pt x="72" y="31"/>
                  </a:lnTo>
                  <a:lnTo>
                    <a:pt x="116" y="31"/>
                  </a:lnTo>
                  <a:lnTo>
                    <a:pt x="116" y="14"/>
                  </a:lnTo>
                  <a:lnTo>
                    <a:pt x="116" y="5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3" name="Freeform 83"/>
            <p:cNvSpPr>
              <a:spLocks/>
            </p:cNvSpPr>
            <p:nvPr/>
          </p:nvSpPr>
          <p:spPr bwMode="gray">
            <a:xfrm>
              <a:off x="2995" y="2435"/>
              <a:ext cx="241" cy="291"/>
            </a:xfrm>
            <a:custGeom>
              <a:avLst/>
              <a:gdLst>
                <a:gd name="T0" fmla="*/ 9 w 241"/>
                <a:gd name="T1" fmla="*/ 174 h 291"/>
                <a:gd name="T2" fmla="*/ 0 w 241"/>
                <a:gd name="T3" fmla="*/ 157 h 291"/>
                <a:gd name="T4" fmla="*/ 14 w 241"/>
                <a:gd name="T5" fmla="*/ 139 h 291"/>
                <a:gd name="T6" fmla="*/ 14 w 241"/>
                <a:gd name="T7" fmla="*/ 130 h 291"/>
                <a:gd name="T8" fmla="*/ 27 w 241"/>
                <a:gd name="T9" fmla="*/ 116 h 291"/>
                <a:gd name="T10" fmla="*/ 27 w 241"/>
                <a:gd name="T11" fmla="*/ 49 h 291"/>
                <a:gd name="T12" fmla="*/ 45 w 241"/>
                <a:gd name="T13" fmla="*/ 23 h 291"/>
                <a:gd name="T14" fmla="*/ 170 w 241"/>
                <a:gd name="T15" fmla="*/ 27 h 291"/>
                <a:gd name="T16" fmla="*/ 188 w 241"/>
                <a:gd name="T17" fmla="*/ 14 h 291"/>
                <a:gd name="T18" fmla="*/ 192 w 241"/>
                <a:gd name="T19" fmla="*/ 0 h 291"/>
                <a:gd name="T20" fmla="*/ 215 w 241"/>
                <a:gd name="T21" fmla="*/ 27 h 291"/>
                <a:gd name="T22" fmla="*/ 219 w 241"/>
                <a:gd name="T23" fmla="*/ 36 h 291"/>
                <a:gd name="T24" fmla="*/ 237 w 241"/>
                <a:gd name="T25" fmla="*/ 72 h 291"/>
                <a:gd name="T26" fmla="*/ 228 w 241"/>
                <a:gd name="T27" fmla="*/ 85 h 291"/>
                <a:gd name="T28" fmla="*/ 219 w 241"/>
                <a:gd name="T29" fmla="*/ 112 h 291"/>
                <a:gd name="T30" fmla="*/ 215 w 241"/>
                <a:gd name="T31" fmla="*/ 139 h 291"/>
                <a:gd name="T32" fmla="*/ 197 w 241"/>
                <a:gd name="T33" fmla="*/ 157 h 291"/>
                <a:gd name="T34" fmla="*/ 188 w 241"/>
                <a:gd name="T35" fmla="*/ 188 h 291"/>
                <a:gd name="T36" fmla="*/ 179 w 241"/>
                <a:gd name="T37" fmla="*/ 224 h 291"/>
                <a:gd name="T38" fmla="*/ 165 w 241"/>
                <a:gd name="T39" fmla="*/ 237 h 291"/>
                <a:gd name="T40" fmla="*/ 192 w 241"/>
                <a:gd name="T41" fmla="*/ 255 h 291"/>
                <a:gd name="T42" fmla="*/ 201 w 241"/>
                <a:gd name="T43" fmla="*/ 268 h 291"/>
                <a:gd name="T44" fmla="*/ 179 w 241"/>
                <a:gd name="T45" fmla="*/ 277 h 291"/>
                <a:gd name="T46" fmla="*/ 170 w 241"/>
                <a:gd name="T47" fmla="*/ 286 h 291"/>
                <a:gd name="T48" fmla="*/ 152 w 241"/>
                <a:gd name="T49" fmla="*/ 291 h 291"/>
                <a:gd name="T50" fmla="*/ 134 w 241"/>
                <a:gd name="T51" fmla="*/ 286 h 291"/>
                <a:gd name="T52" fmla="*/ 116 w 241"/>
                <a:gd name="T53" fmla="*/ 277 h 291"/>
                <a:gd name="T54" fmla="*/ 81 w 241"/>
                <a:gd name="T55" fmla="*/ 273 h 291"/>
                <a:gd name="T56" fmla="*/ 67 w 241"/>
                <a:gd name="T57" fmla="*/ 255 h 291"/>
                <a:gd name="T58" fmla="*/ 40 w 241"/>
                <a:gd name="T59" fmla="*/ 224 h 291"/>
                <a:gd name="T60" fmla="*/ 23 w 241"/>
                <a:gd name="T61" fmla="*/ 215 h 291"/>
                <a:gd name="T62" fmla="*/ 14 w 241"/>
                <a:gd name="T63" fmla="*/ 183 h 29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41"/>
                <a:gd name="T97" fmla="*/ 0 h 291"/>
                <a:gd name="T98" fmla="*/ 241 w 241"/>
                <a:gd name="T99" fmla="*/ 291 h 29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41" h="291">
                  <a:moveTo>
                    <a:pt x="14" y="183"/>
                  </a:moveTo>
                  <a:lnTo>
                    <a:pt x="9" y="174"/>
                  </a:lnTo>
                  <a:lnTo>
                    <a:pt x="9" y="170"/>
                  </a:lnTo>
                  <a:lnTo>
                    <a:pt x="0" y="157"/>
                  </a:lnTo>
                  <a:lnTo>
                    <a:pt x="5" y="143"/>
                  </a:lnTo>
                  <a:lnTo>
                    <a:pt x="14" y="139"/>
                  </a:lnTo>
                  <a:lnTo>
                    <a:pt x="9" y="134"/>
                  </a:lnTo>
                  <a:lnTo>
                    <a:pt x="14" y="130"/>
                  </a:lnTo>
                  <a:lnTo>
                    <a:pt x="14" y="121"/>
                  </a:lnTo>
                  <a:lnTo>
                    <a:pt x="27" y="116"/>
                  </a:lnTo>
                  <a:lnTo>
                    <a:pt x="27" y="58"/>
                  </a:lnTo>
                  <a:lnTo>
                    <a:pt x="27" y="49"/>
                  </a:lnTo>
                  <a:lnTo>
                    <a:pt x="49" y="49"/>
                  </a:lnTo>
                  <a:lnTo>
                    <a:pt x="45" y="23"/>
                  </a:lnTo>
                  <a:lnTo>
                    <a:pt x="165" y="18"/>
                  </a:lnTo>
                  <a:lnTo>
                    <a:pt x="170" y="27"/>
                  </a:lnTo>
                  <a:lnTo>
                    <a:pt x="183" y="14"/>
                  </a:lnTo>
                  <a:lnTo>
                    <a:pt x="188" y="14"/>
                  </a:lnTo>
                  <a:lnTo>
                    <a:pt x="192" y="0"/>
                  </a:lnTo>
                  <a:lnTo>
                    <a:pt x="215" y="14"/>
                  </a:lnTo>
                  <a:lnTo>
                    <a:pt x="215" y="27"/>
                  </a:lnTo>
                  <a:lnTo>
                    <a:pt x="224" y="31"/>
                  </a:lnTo>
                  <a:lnTo>
                    <a:pt x="219" y="36"/>
                  </a:lnTo>
                  <a:lnTo>
                    <a:pt x="224" y="67"/>
                  </a:lnTo>
                  <a:lnTo>
                    <a:pt x="237" y="72"/>
                  </a:lnTo>
                  <a:lnTo>
                    <a:pt x="241" y="81"/>
                  </a:lnTo>
                  <a:lnTo>
                    <a:pt x="228" y="85"/>
                  </a:lnTo>
                  <a:lnTo>
                    <a:pt x="219" y="94"/>
                  </a:lnTo>
                  <a:lnTo>
                    <a:pt x="219" y="112"/>
                  </a:lnTo>
                  <a:lnTo>
                    <a:pt x="210" y="121"/>
                  </a:lnTo>
                  <a:lnTo>
                    <a:pt x="215" y="139"/>
                  </a:lnTo>
                  <a:lnTo>
                    <a:pt x="210" y="157"/>
                  </a:lnTo>
                  <a:lnTo>
                    <a:pt x="197" y="157"/>
                  </a:lnTo>
                  <a:lnTo>
                    <a:pt x="188" y="179"/>
                  </a:lnTo>
                  <a:lnTo>
                    <a:pt x="188" y="188"/>
                  </a:lnTo>
                  <a:lnTo>
                    <a:pt x="179" y="188"/>
                  </a:lnTo>
                  <a:lnTo>
                    <a:pt x="179" y="224"/>
                  </a:lnTo>
                  <a:lnTo>
                    <a:pt x="165" y="224"/>
                  </a:lnTo>
                  <a:lnTo>
                    <a:pt x="165" y="237"/>
                  </a:lnTo>
                  <a:lnTo>
                    <a:pt x="179" y="241"/>
                  </a:lnTo>
                  <a:lnTo>
                    <a:pt x="192" y="255"/>
                  </a:lnTo>
                  <a:lnTo>
                    <a:pt x="188" y="264"/>
                  </a:lnTo>
                  <a:lnTo>
                    <a:pt x="201" y="268"/>
                  </a:lnTo>
                  <a:lnTo>
                    <a:pt x="201" y="277"/>
                  </a:lnTo>
                  <a:lnTo>
                    <a:pt x="179" y="277"/>
                  </a:lnTo>
                  <a:lnTo>
                    <a:pt x="174" y="282"/>
                  </a:lnTo>
                  <a:lnTo>
                    <a:pt x="170" y="286"/>
                  </a:lnTo>
                  <a:lnTo>
                    <a:pt x="161" y="286"/>
                  </a:lnTo>
                  <a:lnTo>
                    <a:pt x="152" y="291"/>
                  </a:lnTo>
                  <a:lnTo>
                    <a:pt x="143" y="286"/>
                  </a:lnTo>
                  <a:lnTo>
                    <a:pt x="134" y="286"/>
                  </a:lnTo>
                  <a:lnTo>
                    <a:pt x="130" y="291"/>
                  </a:lnTo>
                  <a:lnTo>
                    <a:pt x="116" y="277"/>
                  </a:lnTo>
                  <a:lnTo>
                    <a:pt x="94" y="282"/>
                  </a:lnTo>
                  <a:lnTo>
                    <a:pt x="81" y="273"/>
                  </a:lnTo>
                  <a:lnTo>
                    <a:pt x="81" y="259"/>
                  </a:lnTo>
                  <a:lnTo>
                    <a:pt x="67" y="255"/>
                  </a:lnTo>
                  <a:lnTo>
                    <a:pt x="54" y="228"/>
                  </a:lnTo>
                  <a:lnTo>
                    <a:pt x="40" y="224"/>
                  </a:lnTo>
                  <a:lnTo>
                    <a:pt x="36" y="219"/>
                  </a:lnTo>
                  <a:lnTo>
                    <a:pt x="23" y="215"/>
                  </a:lnTo>
                  <a:lnTo>
                    <a:pt x="18" y="201"/>
                  </a:lnTo>
                  <a:lnTo>
                    <a:pt x="14" y="18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4" name="Freeform 84"/>
            <p:cNvSpPr>
              <a:spLocks/>
            </p:cNvSpPr>
            <p:nvPr/>
          </p:nvSpPr>
          <p:spPr bwMode="gray">
            <a:xfrm>
              <a:off x="3120" y="3168"/>
              <a:ext cx="23" cy="27"/>
            </a:xfrm>
            <a:custGeom>
              <a:avLst/>
              <a:gdLst>
                <a:gd name="T0" fmla="*/ 23 w 23"/>
                <a:gd name="T1" fmla="*/ 22 h 27"/>
                <a:gd name="T2" fmla="*/ 18 w 23"/>
                <a:gd name="T3" fmla="*/ 27 h 27"/>
                <a:gd name="T4" fmla="*/ 5 w 23"/>
                <a:gd name="T5" fmla="*/ 27 h 27"/>
                <a:gd name="T6" fmla="*/ 0 w 23"/>
                <a:gd name="T7" fmla="*/ 22 h 27"/>
                <a:gd name="T8" fmla="*/ 5 w 23"/>
                <a:gd name="T9" fmla="*/ 5 h 27"/>
                <a:gd name="T10" fmla="*/ 14 w 23"/>
                <a:gd name="T11" fmla="*/ 0 h 27"/>
                <a:gd name="T12" fmla="*/ 18 w 23"/>
                <a:gd name="T13" fmla="*/ 5 h 27"/>
                <a:gd name="T14" fmla="*/ 23 w 23"/>
                <a:gd name="T15" fmla="*/ 5 h 27"/>
                <a:gd name="T16" fmla="*/ 23 w 23"/>
                <a:gd name="T17" fmla="*/ 9 h 27"/>
                <a:gd name="T18" fmla="*/ 23 w 23"/>
                <a:gd name="T19" fmla="*/ 22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7"/>
                <a:gd name="T32" fmla="*/ 23 w 23"/>
                <a:gd name="T33" fmla="*/ 27 h 2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7">
                  <a:moveTo>
                    <a:pt x="23" y="22"/>
                  </a:moveTo>
                  <a:lnTo>
                    <a:pt x="18" y="27"/>
                  </a:lnTo>
                  <a:lnTo>
                    <a:pt x="5" y="27"/>
                  </a:lnTo>
                  <a:lnTo>
                    <a:pt x="0" y="22"/>
                  </a:lnTo>
                  <a:lnTo>
                    <a:pt x="5" y="5"/>
                  </a:lnTo>
                  <a:lnTo>
                    <a:pt x="14" y="0"/>
                  </a:lnTo>
                  <a:lnTo>
                    <a:pt x="18" y="5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2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5" name="Freeform 85"/>
            <p:cNvSpPr>
              <a:spLocks/>
            </p:cNvSpPr>
            <p:nvPr/>
          </p:nvSpPr>
          <p:spPr bwMode="gray">
            <a:xfrm>
              <a:off x="2683" y="2614"/>
              <a:ext cx="31" cy="76"/>
            </a:xfrm>
            <a:custGeom>
              <a:avLst/>
              <a:gdLst>
                <a:gd name="T0" fmla="*/ 13 w 31"/>
                <a:gd name="T1" fmla="*/ 0 h 76"/>
                <a:gd name="T2" fmla="*/ 4 w 31"/>
                <a:gd name="T3" fmla="*/ 0 h 76"/>
                <a:gd name="T4" fmla="*/ 0 w 31"/>
                <a:gd name="T5" fmla="*/ 9 h 76"/>
                <a:gd name="T6" fmla="*/ 8 w 31"/>
                <a:gd name="T7" fmla="*/ 13 h 76"/>
                <a:gd name="T8" fmla="*/ 8 w 31"/>
                <a:gd name="T9" fmla="*/ 36 h 76"/>
                <a:gd name="T10" fmla="*/ 4 w 31"/>
                <a:gd name="T11" fmla="*/ 40 h 76"/>
                <a:gd name="T12" fmla="*/ 8 w 31"/>
                <a:gd name="T13" fmla="*/ 54 h 76"/>
                <a:gd name="T14" fmla="*/ 8 w 31"/>
                <a:gd name="T15" fmla="*/ 62 h 76"/>
                <a:gd name="T16" fmla="*/ 13 w 31"/>
                <a:gd name="T17" fmla="*/ 71 h 76"/>
                <a:gd name="T18" fmla="*/ 17 w 31"/>
                <a:gd name="T19" fmla="*/ 76 h 76"/>
                <a:gd name="T20" fmla="*/ 31 w 31"/>
                <a:gd name="T21" fmla="*/ 76 h 76"/>
                <a:gd name="T22" fmla="*/ 26 w 31"/>
                <a:gd name="T23" fmla="*/ 62 h 76"/>
                <a:gd name="T24" fmla="*/ 26 w 31"/>
                <a:gd name="T25" fmla="*/ 36 h 76"/>
                <a:gd name="T26" fmla="*/ 22 w 31"/>
                <a:gd name="T27" fmla="*/ 36 h 76"/>
                <a:gd name="T28" fmla="*/ 22 w 31"/>
                <a:gd name="T29" fmla="*/ 22 h 76"/>
                <a:gd name="T30" fmla="*/ 13 w 31"/>
                <a:gd name="T31" fmla="*/ 13 h 76"/>
                <a:gd name="T32" fmla="*/ 13 w 31"/>
                <a:gd name="T33" fmla="*/ 0 h 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1"/>
                <a:gd name="T52" fmla="*/ 0 h 76"/>
                <a:gd name="T53" fmla="*/ 31 w 31"/>
                <a:gd name="T54" fmla="*/ 76 h 7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1" h="76">
                  <a:moveTo>
                    <a:pt x="13" y="0"/>
                  </a:moveTo>
                  <a:lnTo>
                    <a:pt x="4" y="0"/>
                  </a:lnTo>
                  <a:lnTo>
                    <a:pt x="0" y="9"/>
                  </a:lnTo>
                  <a:lnTo>
                    <a:pt x="8" y="13"/>
                  </a:lnTo>
                  <a:lnTo>
                    <a:pt x="8" y="36"/>
                  </a:lnTo>
                  <a:lnTo>
                    <a:pt x="4" y="40"/>
                  </a:lnTo>
                  <a:lnTo>
                    <a:pt x="8" y="54"/>
                  </a:lnTo>
                  <a:lnTo>
                    <a:pt x="8" y="62"/>
                  </a:lnTo>
                  <a:lnTo>
                    <a:pt x="13" y="71"/>
                  </a:lnTo>
                  <a:lnTo>
                    <a:pt x="17" y="76"/>
                  </a:lnTo>
                  <a:lnTo>
                    <a:pt x="31" y="76"/>
                  </a:lnTo>
                  <a:lnTo>
                    <a:pt x="26" y="62"/>
                  </a:lnTo>
                  <a:lnTo>
                    <a:pt x="26" y="36"/>
                  </a:lnTo>
                  <a:lnTo>
                    <a:pt x="22" y="36"/>
                  </a:lnTo>
                  <a:lnTo>
                    <a:pt x="22" y="22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6" name="Freeform 86"/>
            <p:cNvSpPr>
              <a:spLocks/>
            </p:cNvSpPr>
            <p:nvPr/>
          </p:nvSpPr>
          <p:spPr bwMode="gray">
            <a:xfrm>
              <a:off x="2790" y="2189"/>
              <a:ext cx="62" cy="134"/>
            </a:xfrm>
            <a:custGeom>
              <a:avLst/>
              <a:gdLst>
                <a:gd name="T0" fmla="*/ 22 w 62"/>
                <a:gd name="T1" fmla="*/ 134 h 134"/>
                <a:gd name="T2" fmla="*/ 22 w 62"/>
                <a:gd name="T3" fmla="*/ 99 h 134"/>
                <a:gd name="T4" fmla="*/ 13 w 62"/>
                <a:gd name="T5" fmla="*/ 94 h 134"/>
                <a:gd name="T6" fmla="*/ 4 w 62"/>
                <a:gd name="T7" fmla="*/ 81 h 134"/>
                <a:gd name="T8" fmla="*/ 0 w 62"/>
                <a:gd name="T9" fmla="*/ 63 h 134"/>
                <a:gd name="T10" fmla="*/ 13 w 62"/>
                <a:gd name="T11" fmla="*/ 45 h 134"/>
                <a:gd name="T12" fmla="*/ 9 w 62"/>
                <a:gd name="T13" fmla="*/ 18 h 134"/>
                <a:gd name="T14" fmla="*/ 18 w 62"/>
                <a:gd name="T15" fmla="*/ 9 h 134"/>
                <a:gd name="T16" fmla="*/ 22 w 62"/>
                <a:gd name="T17" fmla="*/ 5 h 134"/>
                <a:gd name="T18" fmla="*/ 35 w 62"/>
                <a:gd name="T19" fmla="*/ 0 h 134"/>
                <a:gd name="T20" fmla="*/ 35 w 62"/>
                <a:gd name="T21" fmla="*/ 9 h 134"/>
                <a:gd name="T22" fmla="*/ 35 w 62"/>
                <a:gd name="T23" fmla="*/ 9 h 134"/>
                <a:gd name="T24" fmla="*/ 44 w 62"/>
                <a:gd name="T25" fmla="*/ 5 h 134"/>
                <a:gd name="T26" fmla="*/ 44 w 62"/>
                <a:gd name="T27" fmla="*/ 9 h 134"/>
                <a:gd name="T28" fmla="*/ 40 w 62"/>
                <a:gd name="T29" fmla="*/ 18 h 134"/>
                <a:gd name="T30" fmla="*/ 40 w 62"/>
                <a:gd name="T31" fmla="*/ 27 h 134"/>
                <a:gd name="T32" fmla="*/ 49 w 62"/>
                <a:gd name="T33" fmla="*/ 36 h 134"/>
                <a:gd name="T34" fmla="*/ 49 w 62"/>
                <a:gd name="T35" fmla="*/ 45 h 134"/>
                <a:gd name="T36" fmla="*/ 35 w 62"/>
                <a:gd name="T37" fmla="*/ 54 h 134"/>
                <a:gd name="T38" fmla="*/ 40 w 62"/>
                <a:gd name="T39" fmla="*/ 63 h 134"/>
                <a:gd name="T40" fmla="*/ 44 w 62"/>
                <a:gd name="T41" fmla="*/ 67 h 134"/>
                <a:gd name="T42" fmla="*/ 44 w 62"/>
                <a:gd name="T43" fmla="*/ 58 h 134"/>
                <a:gd name="T44" fmla="*/ 49 w 62"/>
                <a:gd name="T45" fmla="*/ 63 h 134"/>
                <a:gd name="T46" fmla="*/ 49 w 62"/>
                <a:gd name="T47" fmla="*/ 72 h 134"/>
                <a:gd name="T48" fmla="*/ 53 w 62"/>
                <a:gd name="T49" fmla="*/ 72 h 134"/>
                <a:gd name="T50" fmla="*/ 62 w 62"/>
                <a:gd name="T51" fmla="*/ 76 h 134"/>
                <a:gd name="T52" fmla="*/ 58 w 62"/>
                <a:gd name="T53" fmla="*/ 81 h 134"/>
                <a:gd name="T54" fmla="*/ 58 w 62"/>
                <a:gd name="T55" fmla="*/ 90 h 134"/>
                <a:gd name="T56" fmla="*/ 49 w 62"/>
                <a:gd name="T57" fmla="*/ 99 h 134"/>
                <a:gd name="T58" fmla="*/ 40 w 62"/>
                <a:gd name="T59" fmla="*/ 103 h 134"/>
                <a:gd name="T60" fmla="*/ 40 w 62"/>
                <a:gd name="T61" fmla="*/ 126 h 134"/>
                <a:gd name="T62" fmla="*/ 27 w 62"/>
                <a:gd name="T63" fmla="*/ 130 h 134"/>
                <a:gd name="T64" fmla="*/ 22 w 62"/>
                <a:gd name="T65" fmla="*/ 134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2"/>
                <a:gd name="T100" fmla="*/ 0 h 134"/>
                <a:gd name="T101" fmla="*/ 62 w 62"/>
                <a:gd name="T102" fmla="*/ 134 h 1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2" h="134">
                  <a:moveTo>
                    <a:pt x="22" y="134"/>
                  </a:moveTo>
                  <a:lnTo>
                    <a:pt x="22" y="99"/>
                  </a:lnTo>
                  <a:lnTo>
                    <a:pt x="13" y="94"/>
                  </a:lnTo>
                  <a:lnTo>
                    <a:pt x="4" y="81"/>
                  </a:lnTo>
                  <a:lnTo>
                    <a:pt x="0" y="63"/>
                  </a:lnTo>
                  <a:lnTo>
                    <a:pt x="13" y="45"/>
                  </a:lnTo>
                  <a:lnTo>
                    <a:pt x="9" y="18"/>
                  </a:lnTo>
                  <a:lnTo>
                    <a:pt x="18" y="9"/>
                  </a:lnTo>
                  <a:lnTo>
                    <a:pt x="22" y="5"/>
                  </a:lnTo>
                  <a:lnTo>
                    <a:pt x="35" y="0"/>
                  </a:lnTo>
                  <a:lnTo>
                    <a:pt x="35" y="9"/>
                  </a:lnTo>
                  <a:lnTo>
                    <a:pt x="44" y="5"/>
                  </a:lnTo>
                  <a:lnTo>
                    <a:pt x="44" y="9"/>
                  </a:lnTo>
                  <a:lnTo>
                    <a:pt x="40" y="18"/>
                  </a:lnTo>
                  <a:lnTo>
                    <a:pt x="40" y="27"/>
                  </a:lnTo>
                  <a:lnTo>
                    <a:pt x="49" y="36"/>
                  </a:lnTo>
                  <a:lnTo>
                    <a:pt x="49" y="45"/>
                  </a:lnTo>
                  <a:lnTo>
                    <a:pt x="35" y="54"/>
                  </a:lnTo>
                  <a:lnTo>
                    <a:pt x="40" y="63"/>
                  </a:lnTo>
                  <a:lnTo>
                    <a:pt x="44" y="67"/>
                  </a:lnTo>
                  <a:lnTo>
                    <a:pt x="44" y="58"/>
                  </a:lnTo>
                  <a:lnTo>
                    <a:pt x="49" y="63"/>
                  </a:lnTo>
                  <a:lnTo>
                    <a:pt x="49" y="72"/>
                  </a:lnTo>
                  <a:lnTo>
                    <a:pt x="53" y="72"/>
                  </a:lnTo>
                  <a:lnTo>
                    <a:pt x="62" y="76"/>
                  </a:lnTo>
                  <a:lnTo>
                    <a:pt x="58" y="81"/>
                  </a:lnTo>
                  <a:lnTo>
                    <a:pt x="58" y="90"/>
                  </a:lnTo>
                  <a:lnTo>
                    <a:pt x="49" y="99"/>
                  </a:lnTo>
                  <a:lnTo>
                    <a:pt x="40" y="103"/>
                  </a:lnTo>
                  <a:lnTo>
                    <a:pt x="40" y="126"/>
                  </a:lnTo>
                  <a:lnTo>
                    <a:pt x="27" y="130"/>
                  </a:lnTo>
                  <a:lnTo>
                    <a:pt x="22" y="13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7" name="Freeform 87"/>
            <p:cNvSpPr>
              <a:spLocks/>
            </p:cNvSpPr>
            <p:nvPr/>
          </p:nvSpPr>
          <p:spPr bwMode="gray">
            <a:xfrm>
              <a:off x="3111" y="2717"/>
              <a:ext cx="72" cy="85"/>
            </a:xfrm>
            <a:custGeom>
              <a:avLst/>
              <a:gdLst>
                <a:gd name="T0" fmla="*/ 0 w 72"/>
                <a:gd name="T1" fmla="*/ 85 h 85"/>
                <a:gd name="T2" fmla="*/ 0 w 72"/>
                <a:gd name="T3" fmla="*/ 53 h 85"/>
                <a:gd name="T4" fmla="*/ 18 w 72"/>
                <a:gd name="T5" fmla="*/ 31 h 85"/>
                <a:gd name="T6" fmla="*/ 14 w 72"/>
                <a:gd name="T7" fmla="*/ 27 h 85"/>
                <a:gd name="T8" fmla="*/ 14 w 72"/>
                <a:gd name="T9" fmla="*/ 9 h 85"/>
                <a:gd name="T10" fmla="*/ 18 w 72"/>
                <a:gd name="T11" fmla="*/ 4 h 85"/>
                <a:gd name="T12" fmla="*/ 27 w 72"/>
                <a:gd name="T13" fmla="*/ 4 h 85"/>
                <a:gd name="T14" fmla="*/ 36 w 72"/>
                <a:gd name="T15" fmla="*/ 9 h 85"/>
                <a:gd name="T16" fmla="*/ 45 w 72"/>
                <a:gd name="T17" fmla="*/ 4 h 85"/>
                <a:gd name="T18" fmla="*/ 54 w 72"/>
                <a:gd name="T19" fmla="*/ 4 h 85"/>
                <a:gd name="T20" fmla="*/ 58 w 72"/>
                <a:gd name="T21" fmla="*/ 0 h 85"/>
                <a:gd name="T22" fmla="*/ 67 w 72"/>
                <a:gd name="T23" fmla="*/ 9 h 85"/>
                <a:gd name="T24" fmla="*/ 72 w 72"/>
                <a:gd name="T25" fmla="*/ 22 h 85"/>
                <a:gd name="T26" fmla="*/ 67 w 72"/>
                <a:gd name="T27" fmla="*/ 44 h 85"/>
                <a:gd name="T28" fmla="*/ 63 w 72"/>
                <a:gd name="T29" fmla="*/ 58 h 85"/>
                <a:gd name="T30" fmla="*/ 49 w 72"/>
                <a:gd name="T31" fmla="*/ 58 h 85"/>
                <a:gd name="T32" fmla="*/ 32 w 72"/>
                <a:gd name="T33" fmla="*/ 62 h 85"/>
                <a:gd name="T34" fmla="*/ 32 w 72"/>
                <a:gd name="T35" fmla="*/ 76 h 85"/>
                <a:gd name="T36" fmla="*/ 9 w 72"/>
                <a:gd name="T37" fmla="*/ 80 h 85"/>
                <a:gd name="T38" fmla="*/ 0 w 72"/>
                <a:gd name="T39" fmla="*/ 85 h 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2"/>
                <a:gd name="T61" fmla="*/ 0 h 85"/>
                <a:gd name="T62" fmla="*/ 72 w 72"/>
                <a:gd name="T63" fmla="*/ 85 h 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2" h="85">
                  <a:moveTo>
                    <a:pt x="0" y="85"/>
                  </a:moveTo>
                  <a:lnTo>
                    <a:pt x="0" y="53"/>
                  </a:lnTo>
                  <a:lnTo>
                    <a:pt x="18" y="31"/>
                  </a:lnTo>
                  <a:lnTo>
                    <a:pt x="14" y="27"/>
                  </a:lnTo>
                  <a:lnTo>
                    <a:pt x="14" y="9"/>
                  </a:lnTo>
                  <a:lnTo>
                    <a:pt x="18" y="4"/>
                  </a:lnTo>
                  <a:lnTo>
                    <a:pt x="27" y="4"/>
                  </a:lnTo>
                  <a:lnTo>
                    <a:pt x="36" y="9"/>
                  </a:lnTo>
                  <a:lnTo>
                    <a:pt x="45" y="4"/>
                  </a:lnTo>
                  <a:lnTo>
                    <a:pt x="54" y="4"/>
                  </a:lnTo>
                  <a:lnTo>
                    <a:pt x="58" y="0"/>
                  </a:lnTo>
                  <a:lnTo>
                    <a:pt x="67" y="9"/>
                  </a:lnTo>
                  <a:lnTo>
                    <a:pt x="72" y="22"/>
                  </a:lnTo>
                  <a:lnTo>
                    <a:pt x="67" y="44"/>
                  </a:lnTo>
                  <a:lnTo>
                    <a:pt x="63" y="58"/>
                  </a:lnTo>
                  <a:lnTo>
                    <a:pt x="49" y="58"/>
                  </a:lnTo>
                  <a:lnTo>
                    <a:pt x="32" y="62"/>
                  </a:lnTo>
                  <a:lnTo>
                    <a:pt x="32" y="76"/>
                  </a:lnTo>
                  <a:lnTo>
                    <a:pt x="9" y="8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8" name="Freeform 88"/>
            <p:cNvSpPr>
              <a:spLocks/>
            </p:cNvSpPr>
            <p:nvPr/>
          </p:nvSpPr>
          <p:spPr bwMode="gray">
            <a:xfrm>
              <a:off x="3035" y="2292"/>
              <a:ext cx="157" cy="170"/>
            </a:xfrm>
            <a:custGeom>
              <a:avLst/>
              <a:gdLst>
                <a:gd name="T0" fmla="*/ 5 w 157"/>
                <a:gd name="T1" fmla="*/ 166 h 170"/>
                <a:gd name="T2" fmla="*/ 5 w 157"/>
                <a:gd name="T3" fmla="*/ 40 h 170"/>
                <a:gd name="T4" fmla="*/ 0 w 157"/>
                <a:gd name="T5" fmla="*/ 31 h 170"/>
                <a:gd name="T6" fmla="*/ 5 w 157"/>
                <a:gd name="T7" fmla="*/ 23 h 170"/>
                <a:gd name="T8" fmla="*/ 0 w 157"/>
                <a:gd name="T9" fmla="*/ 14 h 170"/>
                <a:gd name="T10" fmla="*/ 9 w 157"/>
                <a:gd name="T11" fmla="*/ 0 h 170"/>
                <a:gd name="T12" fmla="*/ 18 w 157"/>
                <a:gd name="T13" fmla="*/ 0 h 170"/>
                <a:gd name="T14" fmla="*/ 36 w 157"/>
                <a:gd name="T15" fmla="*/ 5 h 170"/>
                <a:gd name="T16" fmla="*/ 45 w 157"/>
                <a:gd name="T17" fmla="*/ 5 h 170"/>
                <a:gd name="T18" fmla="*/ 63 w 157"/>
                <a:gd name="T19" fmla="*/ 14 h 170"/>
                <a:gd name="T20" fmla="*/ 72 w 157"/>
                <a:gd name="T21" fmla="*/ 9 h 170"/>
                <a:gd name="T22" fmla="*/ 81 w 157"/>
                <a:gd name="T23" fmla="*/ 9 h 170"/>
                <a:gd name="T24" fmla="*/ 81 w 157"/>
                <a:gd name="T25" fmla="*/ 5 h 170"/>
                <a:gd name="T26" fmla="*/ 94 w 157"/>
                <a:gd name="T27" fmla="*/ 0 h 170"/>
                <a:gd name="T28" fmla="*/ 103 w 157"/>
                <a:gd name="T29" fmla="*/ 5 h 170"/>
                <a:gd name="T30" fmla="*/ 108 w 157"/>
                <a:gd name="T31" fmla="*/ 14 h 170"/>
                <a:gd name="T32" fmla="*/ 125 w 157"/>
                <a:gd name="T33" fmla="*/ 14 h 170"/>
                <a:gd name="T34" fmla="*/ 139 w 157"/>
                <a:gd name="T35" fmla="*/ 5 h 170"/>
                <a:gd name="T36" fmla="*/ 143 w 157"/>
                <a:gd name="T37" fmla="*/ 9 h 170"/>
                <a:gd name="T38" fmla="*/ 139 w 157"/>
                <a:gd name="T39" fmla="*/ 18 h 170"/>
                <a:gd name="T40" fmla="*/ 148 w 157"/>
                <a:gd name="T41" fmla="*/ 40 h 170"/>
                <a:gd name="T42" fmla="*/ 143 w 157"/>
                <a:gd name="T43" fmla="*/ 40 h 170"/>
                <a:gd name="T44" fmla="*/ 134 w 157"/>
                <a:gd name="T45" fmla="*/ 58 h 170"/>
                <a:gd name="T46" fmla="*/ 134 w 157"/>
                <a:gd name="T47" fmla="*/ 67 h 170"/>
                <a:gd name="T48" fmla="*/ 130 w 157"/>
                <a:gd name="T49" fmla="*/ 63 h 170"/>
                <a:gd name="T50" fmla="*/ 117 w 157"/>
                <a:gd name="T51" fmla="*/ 40 h 170"/>
                <a:gd name="T52" fmla="*/ 112 w 157"/>
                <a:gd name="T53" fmla="*/ 36 h 170"/>
                <a:gd name="T54" fmla="*/ 108 w 157"/>
                <a:gd name="T55" fmla="*/ 36 h 170"/>
                <a:gd name="T56" fmla="*/ 112 w 157"/>
                <a:gd name="T57" fmla="*/ 45 h 170"/>
                <a:gd name="T58" fmla="*/ 125 w 157"/>
                <a:gd name="T59" fmla="*/ 63 h 170"/>
                <a:gd name="T60" fmla="*/ 130 w 157"/>
                <a:gd name="T61" fmla="*/ 76 h 170"/>
                <a:gd name="T62" fmla="*/ 130 w 157"/>
                <a:gd name="T63" fmla="*/ 81 h 170"/>
                <a:gd name="T64" fmla="*/ 148 w 157"/>
                <a:gd name="T65" fmla="*/ 121 h 170"/>
                <a:gd name="T66" fmla="*/ 157 w 157"/>
                <a:gd name="T67" fmla="*/ 130 h 170"/>
                <a:gd name="T68" fmla="*/ 152 w 157"/>
                <a:gd name="T69" fmla="*/ 130 h 170"/>
                <a:gd name="T70" fmla="*/ 152 w 157"/>
                <a:gd name="T71" fmla="*/ 143 h 170"/>
                <a:gd name="T72" fmla="*/ 152 w 157"/>
                <a:gd name="T73" fmla="*/ 143 h 170"/>
                <a:gd name="T74" fmla="*/ 148 w 157"/>
                <a:gd name="T75" fmla="*/ 157 h 170"/>
                <a:gd name="T76" fmla="*/ 143 w 157"/>
                <a:gd name="T77" fmla="*/ 157 h 170"/>
                <a:gd name="T78" fmla="*/ 130 w 157"/>
                <a:gd name="T79" fmla="*/ 170 h 170"/>
                <a:gd name="T80" fmla="*/ 125 w 157"/>
                <a:gd name="T81" fmla="*/ 161 h 170"/>
                <a:gd name="T82" fmla="*/ 5 w 157"/>
                <a:gd name="T83" fmla="*/ 166 h 17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7"/>
                <a:gd name="T127" fmla="*/ 0 h 170"/>
                <a:gd name="T128" fmla="*/ 157 w 157"/>
                <a:gd name="T129" fmla="*/ 170 h 17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7" h="170">
                  <a:moveTo>
                    <a:pt x="5" y="166"/>
                  </a:moveTo>
                  <a:lnTo>
                    <a:pt x="5" y="40"/>
                  </a:lnTo>
                  <a:lnTo>
                    <a:pt x="0" y="31"/>
                  </a:lnTo>
                  <a:lnTo>
                    <a:pt x="5" y="23"/>
                  </a:lnTo>
                  <a:lnTo>
                    <a:pt x="0" y="14"/>
                  </a:lnTo>
                  <a:lnTo>
                    <a:pt x="9" y="0"/>
                  </a:lnTo>
                  <a:lnTo>
                    <a:pt x="18" y="0"/>
                  </a:lnTo>
                  <a:lnTo>
                    <a:pt x="36" y="5"/>
                  </a:lnTo>
                  <a:lnTo>
                    <a:pt x="45" y="5"/>
                  </a:lnTo>
                  <a:lnTo>
                    <a:pt x="63" y="14"/>
                  </a:lnTo>
                  <a:lnTo>
                    <a:pt x="72" y="9"/>
                  </a:lnTo>
                  <a:lnTo>
                    <a:pt x="81" y="9"/>
                  </a:lnTo>
                  <a:lnTo>
                    <a:pt x="81" y="5"/>
                  </a:lnTo>
                  <a:lnTo>
                    <a:pt x="94" y="0"/>
                  </a:lnTo>
                  <a:lnTo>
                    <a:pt x="103" y="5"/>
                  </a:lnTo>
                  <a:lnTo>
                    <a:pt x="108" y="14"/>
                  </a:lnTo>
                  <a:lnTo>
                    <a:pt x="125" y="14"/>
                  </a:lnTo>
                  <a:lnTo>
                    <a:pt x="139" y="5"/>
                  </a:lnTo>
                  <a:lnTo>
                    <a:pt x="143" y="9"/>
                  </a:lnTo>
                  <a:lnTo>
                    <a:pt x="139" y="18"/>
                  </a:lnTo>
                  <a:lnTo>
                    <a:pt x="148" y="40"/>
                  </a:lnTo>
                  <a:lnTo>
                    <a:pt x="143" y="40"/>
                  </a:lnTo>
                  <a:lnTo>
                    <a:pt x="134" y="58"/>
                  </a:lnTo>
                  <a:lnTo>
                    <a:pt x="134" y="67"/>
                  </a:lnTo>
                  <a:lnTo>
                    <a:pt x="130" y="63"/>
                  </a:lnTo>
                  <a:lnTo>
                    <a:pt x="117" y="40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5"/>
                  </a:lnTo>
                  <a:lnTo>
                    <a:pt x="125" y="63"/>
                  </a:lnTo>
                  <a:lnTo>
                    <a:pt x="130" y="76"/>
                  </a:lnTo>
                  <a:lnTo>
                    <a:pt x="130" y="81"/>
                  </a:lnTo>
                  <a:lnTo>
                    <a:pt x="148" y="121"/>
                  </a:lnTo>
                  <a:lnTo>
                    <a:pt x="157" y="130"/>
                  </a:lnTo>
                  <a:lnTo>
                    <a:pt x="152" y="130"/>
                  </a:lnTo>
                  <a:lnTo>
                    <a:pt x="152" y="143"/>
                  </a:lnTo>
                  <a:lnTo>
                    <a:pt x="148" y="157"/>
                  </a:lnTo>
                  <a:lnTo>
                    <a:pt x="143" y="157"/>
                  </a:lnTo>
                  <a:lnTo>
                    <a:pt x="130" y="170"/>
                  </a:lnTo>
                  <a:lnTo>
                    <a:pt x="125" y="161"/>
                  </a:lnTo>
                  <a:lnTo>
                    <a:pt x="5" y="166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09" name="Freeform 89"/>
            <p:cNvSpPr>
              <a:spLocks noEditPoints="1"/>
            </p:cNvSpPr>
            <p:nvPr/>
          </p:nvSpPr>
          <p:spPr bwMode="gray">
            <a:xfrm>
              <a:off x="3107" y="2793"/>
              <a:ext cx="161" cy="161"/>
            </a:xfrm>
            <a:custGeom>
              <a:avLst/>
              <a:gdLst>
                <a:gd name="T0" fmla="*/ 0 w 161"/>
                <a:gd name="T1" fmla="*/ 53 h 161"/>
                <a:gd name="T2" fmla="*/ 4 w 161"/>
                <a:gd name="T3" fmla="*/ 53 h 161"/>
                <a:gd name="T4" fmla="*/ 22 w 161"/>
                <a:gd name="T5" fmla="*/ 40 h 161"/>
                <a:gd name="T6" fmla="*/ 22 w 161"/>
                <a:gd name="T7" fmla="*/ 31 h 161"/>
                <a:gd name="T8" fmla="*/ 18 w 161"/>
                <a:gd name="T9" fmla="*/ 31 h 161"/>
                <a:gd name="T10" fmla="*/ 18 w 161"/>
                <a:gd name="T11" fmla="*/ 22 h 161"/>
                <a:gd name="T12" fmla="*/ 18 w 161"/>
                <a:gd name="T13" fmla="*/ 9 h 161"/>
                <a:gd name="T14" fmla="*/ 13 w 161"/>
                <a:gd name="T15" fmla="*/ 4 h 161"/>
                <a:gd name="T16" fmla="*/ 36 w 161"/>
                <a:gd name="T17" fmla="*/ 0 h 161"/>
                <a:gd name="T18" fmla="*/ 36 w 161"/>
                <a:gd name="T19" fmla="*/ 4 h 161"/>
                <a:gd name="T20" fmla="*/ 31 w 161"/>
                <a:gd name="T21" fmla="*/ 18 h 161"/>
                <a:gd name="T22" fmla="*/ 36 w 161"/>
                <a:gd name="T23" fmla="*/ 26 h 161"/>
                <a:gd name="T24" fmla="*/ 40 w 161"/>
                <a:gd name="T25" fmla="*/ 22 h 161"/>
                <a:gd name="T26" fmla="*/ 58 w 161"/>
                <a:gd name="T27" fmla="*/ 22 h 161"/>
                <a:gd name="T28" fmla="*/ 62 w 161"/>
                <a:gd name="T29" fmla="*/ 18 h 161"/>
                <a:gd name="T30" fmla="*/ 53 w 161"/>
                <a:gd name="T31" fmla="*/ 18 h 161"/>
                <a:gd name="T32" fmla="*/ 53 w 161"/>
                <a:gd name="T33" fmla="*/ 9 h 161"/>
                <a:gd name="T34" fmla="*/ 58 w 161"/>
                <a:gd name="T35" fmla="*/ 13 h 161"/>
                <a:gd name="T36" fmla="*/ 62 w 161"/>
                <a:gd name="T37" fmla="*/ 0 h 161"/>
                <a:gd name="T38" fmla="*/ 103 w 161"/>
                <a:gd name="T39" fmla="*/ 26 h 161"/>
                <a:gd name="T40" fmla="*/ 138 w 161"/>
                <a:gd name="T41" fmla="*/ 53 h 161"/>
                <a:gd name="T42" fmla="*/ 134 w 161"/>
                <a:gd name="T43" fmla="*/ 80 h 161"/>
                <a:gd name="T44" fmla="*/ 147 w 161"/>
                <a:gd name="T45" fmla="*/ 89 h 161"/>
                <a:gd name="T46" fmla="*/ 143 w 161"/>
                <a:gd name="T47" fmla="*/ 102 h 161"/>
                <a:gd name="T48" fmla="*/ 147 w 161"/>
                <a:gd name="T49" fmla="*/ 102 h 161"/>
                <a:gd name="T50" fmla="*/ 143 w 161"/>
                <a:gd name="T51" fmla="*/ 111 h 161"/>
                <a:gd name="T52" fmla="*/ 147 w 161"/>
                <a:gd name="T53" fmla="*/ 134 h 161"/>
                <a:gd name="T54" fmla="*/ 161 w 161"/>
                <a:gd name="T55" fmla="*/ 138 h 161"/>
                <a:gd name="T56" fmla="*/ 156 w 161"/>
                <a:gd name="T57" fmla="*/ 138 h 161"/>
                <a:gd name="T58" fmla="*/ 143 w 161"/>
                <a:gd name="T59" fmla="*/ 147 h 161"/>
                <a:gd name="T60" fmla="*/ 120 w 161"/>
                <a:gd name="T61" fmla="*/ 147 h 161"/>
                <a:gd name="T62" fmla="*/ 116 w 161"/>
                <a:gd name="T63" fmla="*/ 156 h 161"/>
                <a:gd name="T64" fmla="*/ 107 w 161"/>
                <a:gd name="T65" fmla="*/ 152 h 161"/>
                <a:gd name="T66" fmla="*/ 98 w 161"/>
                <a:gd name="T67" fmla="*/ 161 h 161"/>
                <a:gd name="T68" fmla="*/ 89 w 161"/>
                <a:gd name="T69" fmla="*/ 152 h 161"/>
                <a:gd name="T70" fmla="*/ 76 w 161"/>
                <a:gd name="T71" fmla="*/ 156 h 161"/>
                <a:gd name="T72" fmla="*/ 71 w 161"/>
                <a:gd name="T73" fmla="*/ 152 h 161"/>
                <a:gd name="T74" fmla="*/ 71 w 161"/>
                <a:gd name="T75" fmla="*/ 134 h 161"/>
                <a:gd name="T76" fmla="*/ 62 w 161"/>
                <a:gd name="T77" fmla="*/ 125 h 161"/>
                <a:gd name="T78" fmla="*/ 62 w 161"/>
                <a:gd name="T79" fmla="*/ 129 h 161"/>
                <a:gd name="T80" fmla="*/ 53 w 161"/>
                <a:gd name="T81" fmla="*/ 120 h 161"/>
                <a:gd name="T82" fmla="*/ 49 w 161"/>
                <a:gd name="T83" fmla="*/ 125 h 161"/>
                <a:gd name="T84" fmla="*/ 36 w 161"/>
                <a:gd name="T85" fmla="*/ 120 h 161"/>
                <a:gd name="T86" fmla="*/ 27 w 161"/>
                <a:gd name="T87" fmla="*/ 111 h 161"/>
                <a:gd name="T88" fmla="*/ 18 w 161"/>
                <a:gd name="T89" fmla="*/ 107 h 161"/>
                <a:gd name="T90" fmla="*/ 9 w 161"/>
                <a:gd name="T91" fmla="*/ 80 h 161"/>
                <a:gd name="T92" fmla="*/ 4 w 161"/>
                <a:gd name="T93" fmla="*/ 80 h 161"/>
                <a:gd name="T94" fmla="*/ 4 w 161"/>
                <a:gd name="T95" fmla="*/ 76 h 161"/>
                <a:gd name="T96" fmla="*/ 0 w 161"/>
                <a:gd name="T97" fmla="*/ 53 h 161"/>
                <a:gd name="T98" fmla="*/ 143 w 161"/>
                <a:gd name="T99" fmla="*/ 71 h 161"/>
                <a:gd name="T100" fmla="*/ 138 w 161"/>
                <a:gd name="T101" fmla="*/ 76 h 161"/>
                <a:gd name="T102" fmla="*/ 143 w 161"/>
                <a:gd name="T103" fmla="*/ 80 h 161"/>
                <a:gd name="T104" fmla="*/ 147 w 161"/>
                <a:gd name="T105" fmla="*/ 85 h 161"/>
                <a:gd name="T106" fmla="*/ 147 w 161"/>
                <a:gd name="T107" fmla="*/ 76 h 161"/>
                <a:gd name="T108" fmla="*/ 143 w 161"/>
                <a:gd name="T109" fmla="*/ 71 h 16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1"/>
                <a:gd name="T166" fmla="*/ 0 h 161"/>
                <a:gd name="T167" fmla="*/ 161 w 161"/>
                <a:gd name="T168" fmla="*/ 161 h 16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1" h="161">
                  <a:moveTo>
                    <a:pt x="0" y="53"/>
                  </a:moveTo>
                  <a:lnTo>
                    <a:pt x="4" y="53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31"/>
                  </a:lnTo>
                  <a:lnTo>
                    <a:pt x="18" y="22"/>
                  </a:lnTo>
                  <a:lnTo>
                    <a:pt x="18" y="9"/>
                  </a:lnTo>
                  <a:lnTo>
                    <a:pt x="13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1" y="18"/>
                  </a:lnTo>
                  <a:lnTo>
                    <a:pt x="36" y="26"/>
                  </a:lnTo>
                  <a:lnTo>
                    <a:pt x="40" y="22"/>
                  </a:lnTo>
                  <a:lnTo>
                    <a:pt x="58" y="22"/>
                  </a:lnTo>
                  <a:lnTo>
                    <a:pt x="62" y="18"/>
                  </a:lnTo>
                  <a:lnTo>
                    <a:pt x="53" y="18"/>
                  </a:lnTo>
                  <a:lnTo>
                    <a:pt x="53" y="9"/>
                  </a:lnTo>
                  <a:lnTo>
                    <a:pt x="58" y="13"/>
                  </a:lnTo>
                  <a:lnTo>
                    <a:pt x="62" y="0"/>
                  </a:lnTo>
                  <a:lnTo>
                    <a:pt x="103" y="26"/>
                  </a:lnTo>
                  <a:lnTo>
                    <a:pt x="138" y="53"/>
                  </a:lnTo>
                  <a:lnTo>
                    <a:pt x="134" y="80"/>
                  </a:lnTo>
                  <a:lnTo>
                    <a:pt x="147" y="89"/>
                  </a:lnTo>
                  <a:lnTo>
                    <a:pt x="143" y="102"/>
                  </a:lnTo>
                  <a:lnTo>
                    <a:pt x="147" y="102"/>
                  </a:lnTo>
                  <a:lnTo>
                    <a:pt x="143" y="111"/>
                  </a:lnTo>
                  <a:lnTo>
                    <a:pt x="147" y="134"/>
                  </a:lnTo>
                  <a:lnTo>
                    <a:pt x="161" y="138"/>
                  </a:lnTo>
                  <a:lnTo>
                    <a:pt x="156" y="138"/>
                  </a:lnTo>
                  <a:lnTo>
                    <a:pt x="143" y="147"/>
                  </a:lnTo>
                  <a:lnTo>
                    <a:pt x="120" y="147"/>
                  </a:lnTo>
                  <a:lnTo>
                    <a:pt x="116" y="156"/>
                  </a:lnTo>
                  <a:lnTo>
                    <a:pt x="107" y="152"/>
                  </a:lnTo>
                  <a:lnTo>
                    <a:pt x="98" y="161"/>
                  </a:lnTo>
                  <a:lnTo>
                    <a:pt x="89" y="152"/>
                  </a:lnTo>
                  <a:lnTo>
                    <a:pt x="76" y="156"/>
                  </a:lnTo>
                  <a:lnTo>
                    <a:pt x="71" y="152"/>
                  </a:lnTo>
                  <a:lnTo>
                    <a:pt x="71" y="134"/>
                  </a:lnTo>
                  <a:lnTo>
                    <a:pt x="62" y="125"/>
                  </a:lnTo>
                  <a:lnTo>
                    <a:pt x="62" y="129"/>
                  </a:lnTo>
                  <a:lnTo>
                    <a:pt x="53" y="120"/>
                  </a:lnTo>
                  <a:lnTo>
                    <a:pt x="49" y="125"/>
                  </a:lnTo>
                  <a:lnTo>
                    <a:pt x="36" y="120"/>
                  </a:lnTo>
                  <a:lnTo>
                    <a:pt x="27" y="111"/>
                  </a:lnTo>
                  <a:lnTo>
                    <a:pt x="18" y="107"/>
                  </a:lnTo>
                  <a:lnTo>
                    <a:pt x="9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53"/>
                  </a:lnTo>
                  <a:close/>
                  <a:moveTo>
                    <a:pt x="143" y="71"/>
                  </a:moveTo>
                  <a:lnTo>
                    <a:pt x="138" y="76"/>
                  </a:lnTo>
                  <a:lnTo>
                    <a:pt x="143" y="80"/>
                  </a:lnTo>
                  <a:lnTo>
                    <a:pt x="147" y="85"/>
                  </a:lnTo>
                  <a:lnTo>
                    <a:pt x="147" y="76"/>
                  </a:lnTo>
                  <a:lnTo>
                    <a:pt x="143" y="7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10" name="Freeform 90"/>
            <p:cNvSpPr>
              <a:spLocks/>
            </p:cNvSpPr>
            <p:nvPr/>
          </p:nvSpPr>
          <p:spPr bwMode="gray">
            <a:xfrm>
              <a:off x="2602" y="2556"/>
              <a:ext cx="112" cy="89"/>
            </a:xfrm>
            <a:custGeom>
              <a:avLst/>
              <a:gdLst>
                <a:gd name="T0" fmla="*/ 0 w 112"/>
                <a:gd name="T1" fmla="*/ 71 h 89"/>
                <a:gd name="T2" fmla="*/ 9 w 112"/>
                <a:gd name="T3" fmla="*/ 45 h 89"/>
                <a:gd name="T4" fmla="*/ 18 w 112"/>
                <a:gd name="T5" fmla="*/ 40 h 89"/>
                <a:gd name="T6" fmla="*/ 22 w 112"/>
                <a:gd name="T7" fmla="*/ 22 h 89"/>
                <a:gd name="T8" fmla="*/ 31 w 112"/>
                <a:gd name="T9" fmla="*/ 27 h 89"/>
                <a:gd name="T10" fmla="*/ 67 w 112"/>
                <a:gd name="T11" fmla="*/ 0 h 89"/>
                <a:gd name="T12" fmla="*/ 85 w 112"/>
                <a:gd name="T13" fmla="*/ 4 h 89"/>
                <a:gd name="T14" fmla="*/ 85 w 112"/>
                <a:gd name="T15" fmla="*/ 13 h 89"/>
                <a:gd name="T16" fmla="*/ 94 w 112"/>
                <a:gd name="T17" fmla="*/ 27 h 89"/>
                <a:gd name="T18" fmla="*/ 94 w 112"/>
                <a:gd name="T19" fmla="*/ 36 h 89"/>
                <a:gd name="T20" fmla="*/ 103 w 112"/>
                <a:gd name="T21" fmla="*/ 40 h 89"/>
                <a:gd name="T22" fmla="*/ 112 w 112"/>
                <a:gd name="T23" fmla="*/ 36 h 89"/>
                <a:gd name="T24" fmla="*/ 112 w 112"/>
                <a:gd name="T25" fmla="*/ 49 h 89"/>
                <a:gd name="T26" fmla="*/ 103 w 112"/>
                <a:gd name="T27" fmla="*/ 58 h 89"/>
                <a:gd name="T28" fmla="*/ 94 w 112"/>
                <a:gd name="T29" fmla="*/ 58 h 89"/>
                <a:gd name="T30" fmla="*/ 85 w 112"/>
                <a:gd name="T31" fmla="*/ 58 h 89"/>
                <a:gd name="T32" fmla="*/ 81 w 112"/>
                <a:gd name="T33" fmla="*/ 58 h 89"/>
                <a:gd name="T34" fmla="*/ 72 w 112"/>
                <a:gd name="T35" fmla="*/ 62 h 89"/>
                <a:gd name="T36" fmla="*/ 40 w 112"/>
                <a:gd name="T37" fmla="*/ 62 h 89"/>
                <a:gd name="T38" fmla="*/ 40 w 112"/>
                <a:gd name="T39" fmla="*/ 76 h 89"/>
                <a:gd name="T40" fmla="*/ 40 w 112"/>
                <a:gd name="T41" fmla="*/ 89 h 89"/>
                <a:gd name="T42" fmla="*/ 36 w 112"/>
                <a:gd name="T43" fmla="*/ 85 h 89"/>
                <a:gd name="T44" fmla="*/ 31 w 112"/>
                <a:gd name="T45" fmla="*/ 80 h 89"/>
                <a:gd name="T46" fmla="*/ 18 w 112"/>
                <a:gd name="T47" fmla="*/ 85 h 89"/>
                <a:gd name="T48" fmla="*/ 0 w 112"/>
                <a:gd name="T49" fmla="*/ 71 h 8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2"/>
                <a:gd name="T76" fmla="*/ 0 h 89"/>
                <a:gd name="T77" fmla="*/ 112 w 112"/>
                <a:gd name="T78" fmla="*/ 89 h 8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2" h="89">
                  <a:moveTo>
                    <a:pt x="0" y="71"/>
                  </a:moveTo>
                  <a:lnTo>
                    <a:pt x="9" y="45"/>
                  </a:lnTo>
                  <a:lnTo>
                    <a:pt x="18" y="40"/>
                  </a:lnTo>
                  <a:lnTo>
                    <a:pt x="22" y="22"/>
                  </a:lnTo>
                  <a:lnTo>
                    <a:pt x="31" y="27"/>
                  </a:lnTo>
                  <a:lnTo>
                    <a:pt x="67" y="0"/>
                  </a:lnTo>
                  <a:lnTo>
                    <a:pt x="85" y="4"/>
                  </a:lnTo>
                  <a:lnTo>
                    <a:pt x="85" y="13"/>
                  </a:lnTo>
                  <a:lnTo>
                    <a:pt x="94" y="27"/>
                  </a:lnTo>
                  <a:lnTo>
                    <a:pt x="94" y="36"/>
                  </a:lnTo>
                  <a:lnTo>
                    <a:pt x="103" y="40"/>
                  </a:lnTo>
                  <a:lnTo>
                    <a:pt x="112" y="36"/>
                  </a:lnTo>
                  <a:lnTo>
                    <a:pt x="112" y="49"/>
                  </a:lnTo>
                  <a:lnTo>
                    <a:pt x="103" y="58"/>
                  </a:lnTo>
                  <a:lnTo>
                    <a:pt x="94" y="58"/>
                  </a:lnTo>
                  <a:lnTo>
                    <a:pt x="85" y="58"/>
                  </a:lnTo>
                  <a:lnTo>
                    <a:pt x="81" y="58"/>
                  </a:lnTo>
                  <a:lnTo>
                    <a:pt x="72" y="62"/>
                  </a:lnTo>
                  <a:lnTo>
                    <a:pt x="40" y="62"/>
                  </a:lnTo>
                  <a:lnTo>
                    <a:pt x="40" y="76"/>
                  </a:lnTo>
                  <a:lnTo>
                    <a:pt x="40" y="89"/>
                  </a:lnTo>
                  <a:lnTo>
                    <a:pt x="36" y="85"/>
                  </a:lnTo>
                  <a:lnTo>
                    <a:pt x="31" y="80"/>
                  </a:lnTo>
                  <a:lnTo>
                    <a:pt x="18" y="85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11" name="Freeform 91"/>
            <p:cNvSpPr>
              <a:spLocks/>
            </p:cNvSpPr>
            <p:nvPr/>
          </p:nvSpPr>
          <p:spPr bwMode="gray">
            <a:xfrm>
              <a:off x="2995" y="2904"/>
              <a:ext cx="170" cy="143"/>
            </a:xfrm>
            <a:custGeom>
              <a:avLst/>
              <a:gdLst>
                <a:gd name="T0" fmla="*/ 23 w 170"/>
                <a:gd name="T1" fmla="*/ 134 h 143"/>
                <a:gd name="T2" fmla="*/ 0 w 170"/>
                <a:gd name="T3" fmla="*/ 112 h 143"/>
                <a:gd name="T4" fmla="*/ 5 w 170"/>
                <a:gd name="T5" fmla="*/ 67 h 143"/>
                <a:gd name="T6" fmla="*/ 27 w 170"/>
                <a:gd name="T7" fmla="*/ 63 h 143"/>
                <a:gd name="T8" fmla="*/ 31 w 170"/>
                <a:gd name="T9" fmla="*/ 54 h 143"/>
                <a:gd name="T10" fmla="*/ 31 w 170"/>
                <a:gd name="T11" fmla="*/ 32 h 143"/>
                <a:gd name="T12" fmla="*/ 40 w 170"/>
                <a:gd name="T13" fmla="*/ 41 h 143"/>
                <a:gd name="T14" fmla="*/ 49 w 170"/>
                <a:gd name="T15" fmla="*/ 36 h 143"/>
                <a:gd name="T16" fmla="*/ 58 w 170"/>
                <a:gd name="T17" fmla="*/ 50 h 143"/>
                <a:gd name="T18" fmla="*/ 81 w 170"/>
                <a:gd name="T19" fmla="*/ 45 h 143"/>
                <a:gd name="T20" fmla="*/ 85 w 170"/>
                <a:gd name="T21" fmla="*/ 54 h 143"/>
                <a:gd name="T22" fmla="*/ 94 w 170"/>
                <a:gd name="T23" fmla="*/ 58 h 143"/>
                <a:gd name="T24" fmla="*/ 103 w 170"/>
                <a:gd name="T25" fmla="*/ 67 h 143"/>
                <a:gd name="T26" fmla="*/ 121 w 170"/>
                <a:gd name="T27" fmla="*/ 67 h 143"/>
                <a:gd name="T28" fmla="*/ 121 w 170"/>
                <a:gd name="T29" fmla="*/ 50 h 143"/>
                <a:gd name="T30" fmla="*/ 107 w 170"/>
                <a:gd name="T31" fmla="*/ 58 h 143"/>
                <a:gd name="T32" fmla="*/ 94 w 170"/>
                <a:gd name="T33" fmla="*/ 45 h 143"/>
                <a:gd name="T34" fmla="*/ 98 w 170"/>
                <a:gd name="T35" fmla="*/ 18 h 143"/>
                <a:gd name="T36" fmla="*/ 103 w 170"/>
                <a:gd name="T37" fmla="*/ 5 h 143"/>
                <a:gd name="T38" fmla="*/ 125 w 170"/>
                <a:gd name="T39" fmla="*/ 0 h 143"/>
                <a:gd name="T40" fmla="*/ 125 w 170"/>
                <a:gd name="T41" fmla="*/ 5 h 143"/>
                <a:gd name="T42" fmla="*/ 134 w 170"/>
                <a:gd name="T43" fmla="*/ 5 h 143"/>
                <a:gd name="T44" fmla="*/ 139 w 170"/>
                <a:gd name="T45" fmla="*/ 0 h 143"/>
                <a:gd name="T46" fmla="*/ 148 w 170"/>
                <a:gd name="T47" fmla="*/ 9 h 143"/>
                <a:gd name="T48" fmla="*/ 161 w 170"/>
                <a:gd name="T49" fmla="*/ 14 h 143"/>
                <a:gd name="T50" fmla="*/ 170 w 170"/>
                <a:gd name="T51" fmla="*/ 27 h 143"/>
                <a:gd name="T52" fmla="*/ 170 w 170"/>
                <a:gd name="T53" fmla="*/ 36 h 143"/>
                <a:gd name="T54" fmla="*/ 165 w 170"/>
                <a:gd name="T55" fmla="*/ 36 h 143"/>
                <a:gd name="T56" fmla="*/ 165 w 170"/>
                <a:gd name="T57" fmla="*/ 58 h 143"/>
                <a:gd name="T58" fmla="*/ 161 w 170"/>
                <a:gd name="T59" fmla="*/ 63 h 143"/>
                <a:gd name="T60" fmla="*/ 157 w 170"/>
                <a:gd name="T61" fmla="*/ 76 h 143"/>
                <a:gd name="T62" fmla="*/ 161 w 170"/>
                <a:gd name="T63" fmla="*/ 81 h 143"/>
                <a:gd name="T64" fmla="*/ 125 w 170"/>
                <a:gd name="T65" fmla="*/ 99 h 143"/>
                <a:gd name="T66" fmla="*/ 125 w 170"/>
                <a:gd name="T67" fmla="*/ 108 h 143"/>
                <a:gd name="T68" fmla="*/ 107 w 170"/>
                <a:gd name="T69" fmla="*/ 112 h 143"/>
                <a:gd name="T70" fmla="*/ 103 w 170"/>
                <a:gd name="T71" fmla="*/ 117 h 143"/>
                <a:gd name="T72" fmla="*/ 90 w 170"/>
                <a:gd name="T73" fmla="*/ 126 h 143"/>
                <a:gd name="T74" fmla="*/ 72 w 170"/>
                <a:gd name="T75" fmla="*/ 143 h 143"/>
                <a:gd name="T76" fmla="*/ 45 w 170"/>
                <a:gd name="T77" fmla="*/ 139 h 143"/>
                <a:gd name="T78" fmla="*/ 31 w 170"/>
                <a:gd name="T79" fmla="*/ 130 h 143"/>
                <a:gd name="T80" fmla="*/ 23 w 170"/>
                <a:gd name="T81" fmla="*/ 134 h 14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70"/>
                <a:gd name="T124" fmla="*/ 0 h 143"/>
                <a:gd name="T125" fmla="*/ 170 w 170"/>
                <a:gd name="T126" fmla="*/ 143 h 14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70" h="143">
                  <a:moveTo>
                    <a:pt x="23" y="134"/>
                  </a:moveTo>
                  <a:lnTo>
                    <a:pt x="0" y="112"/>
                  </a:lnTo>
                  <a:lnTo>
                    <a:pt x="5" y="67"/>
                  </a:lnTo>
                  <a:lnTo>
                    <a:pt x="27" y="63"/>
                  </a:lnTo>
                  <a:lnTo>
                    <a:pt x="31" y="54"/>
                  </a:lnTo>
                  <a:lnTo>
                    <a:pt x="31" y="32"/>
                  </a:lnTo>
                  <a:lnTo>
                    <a:pt x="40" y="41"/>
                  </a:lnTo>
                  <a:lnTo>
                    <a:pt x="49" y="36"/>
                  </a:lnTo>
                  <a:lnTo>
                    <a:pt x="58" y="50"/>
                  </a:lnTo>
                  <a:lnTo>
                    <a:pt x="81" y="45"/>
                  </a:lnTo>
                  <a:lnTo>
                    <a:pt x="85" y="54"/>
                  </a:lnTo>
                  <a:lnTo>
                    <a:pt x="94" y="58"/>
                  </a:lnTo>
                  <a:lnTo>
                    <a:pt x="103" y="67"/>
                  </a:lnTo>
                  <a:lnTo>
                    <a:pt x="121" y="67"/>
                  </a:lnTo>
                  <a:lnTo>
                    <a:pt x="121" y="50"/>
                  </a:lnTo>
                  <a:lnTo>
                    <a:pt x="107" y="58"/>
                  </a:lnTo>
                  <a:lnTo>
                    <a:pt x="94" y="45"/>
                  </a:lnTo>
                  <a:lnTo>
                    <a:pt x="98" y="18"/>
                  </a:lnTo>
                  <a:lnTo>
                    <a:pt x="103" y="5"/>
                  </a:lnTo>
                  <a:lnTo>
                    <a:pt x="125" y="0"/>
                  </a:lnTo>
                  <a:lnTo>
                    <a:pt x="125" y="5"/>
                  </a:lnTo>
                  <a:lnTo>
                    <a:pt x="134" y="5"/>
                  </a:lnTo>
                  <a:lnTo>
                    <a:pt x="139" y="0"/>
                  </a:lnTo>
                  <a:lnTo>
                    <a:pt x="148" y="9"/>
                  </a:lnTo>
                  <a:lnTo>
                    <a:pt x="161" y="14"/>
                  </a:lnTo>
                  <a:lnTo>
                    <a:pt x="170" y="27"/>
                  </a:lnTo>
                  <a:lnTo>
                    <a:pt x="170" y="36"/>
                  </a:lnTo>
                  <a:lnTo>
                    <a:pt x="165" y="36"/>
                  </a:lnTo>
                  <a:lnTo>
                    <a:pt x="165" y="58"/>
                  </a:lnTo>
                  <a:lnTo>
                    <a:pt x="161" y="63"/>
                  </a:lnTo>
                  <a:lnTo>
                    <a:pt x="157" y="76"/>
                  </a:lnTo>
                  <a:lnTo>
                    <a:pt x="161" y="81"/>
                  </a:lnTo>
                  <a:lnTo>
                    <a:pt x="125" y="99"/>
                  </a:lnTo>
                  <a:lnTo>
                    <a:pt x="125" y="108"/>
                  </a:lnTo>
                  <a:lnTo>
                    <a:pt x="107" y="112"/>
                  </a:lnTo>
                  <a:lnTo>
                    <a:pt x="103" y="117"/>
                  </a:lnTo>
                  <a:lnTo>
                    <a:pt x="90" y="126"/>
                  </a:lnTo>
                  <a:lnTo>
                    <a:pt x="72" y="143"/>
                  </a:lnTo>
                  <a:lnTo>
                    <a:pt x="45" y="139"/>
                  </a:lnTo>
                  <a:lnTo>
                    <a:pt x="31" y="130"/>
                  </a:lnTo>
                  <a:lnTo>
                    <a:pt x="23" y="13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12" name="Freeform 92"/>
            <p:cNvSpPr>
              <a:spLocks/>
            </p:cNvSpPr>
            <p:nvPr/>
          </p:nvSpPr>
          <p:spPr bwMode="gray">
            <a:xfrm>
              <a:off x="3451" y="2592"/>
              <a:ext cx="18" cy="9"/>
            </a:xfrm>
            <a:custGeom>
              <a:avLst/>
              <a:gdLst>
                <a:gd name="T0" fmla="*/ 0 w 18"/>
                <a:gd name="T1" fmla="*/ 4 h 9"/>
                <a:gd name="T2" fmla="*/ 9 w 18"/>
                <a:gd name="T3" fmla="*/ 9 h 9"/>
                <a:gd name="T4" fmla="*/ 18 w 18"/>
                <a:gd name="T5" fmla="*/ 4 h 9"/>
                <a:gd name="T6" fmla="*/ 4 w 18"/>
                <a:gd name="T7" fmla="*/ 0 h 9"/>
                <a:gd name="T8" fmla="*/ 0 w 18"/>
                <a:gd name="T9" fmla="*/ 4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9"/>
                <a:gd name="T17" fmla="*/ 18 w 1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9">
                  <a:moveTo>
                    <a:pt x="0" y="4"/>
                  </a:moveTo>
                  <a:lnTo>
                    <a:pt x="9" y="9"/>
                  </a:lnTo>
                  <a:lnTo>
                    <a:pt x="18" y="4"/>
                  </a:lnTo>
                  <a:lnTo>
                    <a:pt x="4" y="0"/>
                  </a:lnTo>
                  <a:lnTo>
                    <a:pt x="0" y="4"/>
                  </a:lnTo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13" name="Freeform 93"/>
            <p:cNvSpPr>
              <a:spLocks/>
            </p:cNvSpPr>
            <p:nvPr/>
          </p:nvSpPr>
          <p:spPr bwMode="gray">
            <a:xfrm>
              <a:off x="3120" y="2904"/>
              <a:ext cx="14" cy="5"/>
            </a:xfrm>
            <a:custGeom>
              <a:avLst/>
              <a:gdLst>
                <a:gd name="T0" fmla="*/ 14 w 14"/>
                <a:gd name="T1" fmla="*/ 0 h 5"/>
                <a:gd name="T2" fmla="*/ 9 w 14"/>
                <a:gd name="T3" fmla="*/ 5 h 5"/>
                <a:gd name="T4" fmla="*/ 0 w 14"/>
                <a:gd name="T5" fmla="*/ 5 h 5"/>
                <a:gd name="T6" fmla="*/ 0 w 14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5"/>
                <a:gd name="T14" fmla="*/ 14 w 1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5">
                  <a:moveTo>
                    <a:pt x="14" y="0"/>
                  </a:moveTo>
                  <a:lnTo>
                    <a:pt x="9" y="5"/>
                  </a:lnTo>
                  <a:lnTo>
                    <a:pt x="0" y="5"/>
                  </a:lnTo>
                  <a:lnTo>
                    <a:pt x="0" y="0"/>
                  </a:lnTo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</p:grpSp>
      <p:sp>
        <p:nvSpPr>
          <p:cNvPr id="215" name="Freeform 136"/>
          <p:cNvSpPr>
            <a:spLocks noEditPoints="1"/>
          </p:cNvSpPr>
          <p:nvPr/>
        </p:nvSpPr>
        <p:spPr bwMode="gray">
          <a:xfrm>
            <a:off x="4189497" y="5127144"/>
            <a:ext cx="292957" cy="163205"/>
          </a:xfrm>
          <a:custGeom>
            <a:avLst/>
            <a:gdLst>
              <a:gd name="T0" fmla="*/ 0 w 214"/>
              <a:gd name="T1" fmla="*/ 13 h 134"/>
              <a:gd name="T2" fmla="*/ 26 w 214"/>
              <a:gd name="T3" fmla="*/ 26 h 134"/>
              <a:gd name="T4" fmla="*/ 67 w 214"/>
              <a:gd name="T5" fmla="*/ 40 h 134"/>
              <a:gd name="T6" fmla="*/ 93 w 214"/>
              <a:gd name="T7" fmla="*/ 58 h 134"/>
              <a:gd name="T8" fmla="*/ 93 w 214"/>
              <a:gd name="T9" fmla="*/ 71 h 134"/>
              <a:gd name="T10" fmla="*/ 102 w 214"/>
              <a:gd name="T11" fmla="*/ 98 h 134"/>
              <a:gd name="T12" fmla="*/ 120 w 214"/>
              <a:gd name="T13" fmla="*/ 107 h 134"/>
              <a:gd name="T14" fmla="*/ 129 w 214"/>
              <a:gd name="T15" fmla="*/ 116 h 134"/>
              <a:gd name="T16" fmla="*/ 143 w 214"/>
              <a:gd name="T17" fmla="*/ 125 h 134"/>
              <a:gd name="T18" fmla="*/ 129 w 214"/>
              <a:gd name="T19" fmla="*/ 134 h 134"/>
              <a:gd name="T20" fmla="*/ 102 w 214"/>
              <a:gd name="T21" fmla="*/ 125 h 134"/>
              <a:gd name="T22" fmla="*/ 76 w 214"/>
              <a:gd name="T23" fmla="*/ 102 h 134"/>
              <a:gd name="T24" fmla="*/ 58 w 214"/>
              <a:gd name="T25" fmla="*/ 84 h 134"/>
              <a:gd name="T26" fmla="*/ 26 w 214"/>
              <a:gd name="T27" fmla="*/ 93 h 134"/>
              <a:gd name="T28" fmla="*/ 22 w 214"/>
              <a:gd name="T29" fmla="*/ 107 h 134"/>
              <a:gd name="T30" fmla="*/ 4 w 214"/>
              <a:gd name="T31" fmla="*/ 107 h 134"/>
              <a:gd name="T32" fmla="*/ 76 w 214"/>
              <a:gd name="T33" fmla="*/ 0 h 134"/>
              <a:gd name="T34" fmla="*/ 80 w 214"/>
              <a:gd name="T35" fmla="*/ 8 h 134"/>
              <a:gd name="T36" fmla="*/ 89 w 214"/>
              <a:gd name="T37" fmla="*/ 0 h 134"/>
              <a:gd name="T38" fmla="*/ 76 w 214"/>
              <a:gd name="T39" fmla="*/ 0 h 134"/>
              <a:gd name="T40" fmla="*/ 102 w 214"/>
              <a:gd name="T41" fmla="*/ 58 h 134"/>
              <a:gd name="T42" fmla="*/ 116 w 214"/>
              <a:gd name="T43" fmla="*/ 67 h 134"/>
              <a:gd name="T44" fmla="*/ 129 w 214"/>
              <a:gd name="T45" fmla="*/ 71 h 134"/>
              <a:gd name="T46" fmla="*/ 151 w 214"/>
              <a:gd name="T47" fmla="*/ 58 h 134"/>
              <a:gd name="T48" fmla="*/ 165 w 214"/>
              <a:gd name="T49" fmla="*/ 40 h 134"/>
              <a:gd name="T50" fmla="*/ 151 w 214"/>
              <a:gd name="T51" fmla="*/ 35 h 134"/>
              <a:gd name="T52" fmla="*/ 143 w 214"/>
              <a:gd name="T53" fmla="*/ 53 h 134"/>
              <a:gd name="T54" fmla="*/ 129 w 214"/>
              <a:gd name="T55" fmla="*/ 49 h 134"/>
              <a:gd name="T56" fmla="*/ 102 w 214"/>
              <a:gd name="T57" fmla="*/ 53 h 134"/>
              <a:gd name="T58" fmla="*/ 165 w 214"/>
              <a:gd name="T59" fmla="*/ 26 h 134"/>
              <a:gd name="T60" fmla="*/ 134 w 214"/>
              <a:gd name="T61" fmla="*/ 4 h 134"/>
              <a:gd name="T62" fmla="*/ 143 w 214"/>
              <a:gd name="T63" fmla="*/ 13 h 134"/>
              <a:gd name="T64" fmla="*/ 165 w 214"/>
              <a:gd name="T65" fmla="*/ 35 h 134"/>
              <a:gd name="T66" fmla="*/ 174 w 214"/>
              <a:gd name="T67" fmla="*/ 35 h 134"/>
              <a:gd name="T68" fmla="*/ 196 w 214"/>
              <a:gd name="T69" fmla="*/ 62 h 134"/>
              <a:gd name="T70" fmla="*/ 210 w 214"/>
              <a:gd name="T71" fmla="*/ 71 h 134"/>
              <a:gd name="T72" fmla="*/ 201 w 214"/>
              <a:gd name="T73" fmla="*/ 53 h 13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14"/>
              <a:gd name="T112" fmla="*/ 0 h 134"/>
              <a:gd name="T113" fmla="*/ 214 w 214"/>
              <a:gd name="T114" fmla="*/ 134 h 134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14" h="134">
                <a:moveTo>
                  <a:pt x="0" y="102"/>
                </a:moveTo>
                <a:lnTo>
                  <a:pt x="0" y="13"/>
                </a:lnTo>
                <a:lnTo>
                  <a:pt x="13" y="13"/>
                </a:lnTo>
                <a:lnTo>
                  <a:pt x="26" y="26"/>
                </a:lnTo>
                <a:lnTo>
                  <a:pt x="49" y="26"/>
                </a:lnTo>
                <a:lnTo>
                  <a:pt x="67" y="40"/>
                </a:lnTo>
                <a:lnTo>
                  <a:pt x="67" y="53"/>
                </a:lnTo>
                <a:lnTo>
                  <a:pt x="93" y="58"/>
                </a:lnTo>
                <a:lnTo>
                  <a:pt x="98" y="71"/>
                </a:lnTo>
                <a:lnTo>
                  <a:pt x="93" y="71"/>
                </a:lnTo>
                <a:lnTo>
                  <a:pt x="84" y="71"/>
                </a:lnTo>
                <a:lnTo>
                  <a:pt x="102" y="98"/>
                </a:lnTo>
                <a:lnTo>
                  <a:pt x="111" y="107"/>
                </a:lnTo>
                <a:lnTo>
                  <a:pt x="120" y="107"/>
                </a:lnTo>
                <a:lnTo>
                  <a:pt x="120" y="111"/>
                </a:lnTo>
                <a:lnTo>
                  <a:pt x="129" y="116"/>
                </a:lnTo>
                <a:lnTo>
                  <a:pt x="129" y="120"/>
                </a:lnTo>
                <a:lnTo>
                  <a:pt x="143" y="125"/>
                </a:lnTo>
                <a:lnTo>
                  <a:pt x="134" y="134"/>
                </a:lnTo>
                <a:lnTo>
                  <a:pt x="129" y="134"/>
                </a:lnTo>
                <a:lnTo>
                  <a:pt x="129" y="125"/>
                </a:lnTo>
                <a:lnTo>
                  <a:pt x="102" y="125"/>
                </a:lnTo>
                <a:lnTo>
                  <a:pt x="89" y="120"/>
                </a:lnTo>
                <a:lnTo>
                  <a:pt x="76" y="102"/>
                </a:lnTo>
                <a:lnTo>
                  <a:pt x="67" y="89"/>
                </a:lnTo>
                <a:lnTo>
                  <a:pt x="58" y="84"/>
                </a:lnTo>
                <a:lnTo>
                  <a:pt x="40" y="80"/>
                </a:lnTo>
                <a:lnTo>
                  <a:pt x="26" y="93"/>
                </a:lnTo>
                <a:lnTo>
                  <a:pt x="31" y="102"/>
                </a:lnTo>
                <a:lnTo>
                  <a:pt x="22" y="107"/>
                </a:lnTo>
                <a:lnTo>
                  <a:pt x="4" y="102"/>
                </a:lnTo>
                <a:lnTo>
                  <a:pt x="4" y="107"/>
                </a:lnTo>
                <a:lnTo>
                  <a:pt x="0" y="102"/>
                </a:lnTo>
                <a:close/>
                <a:moveTo>
                  <a:pt x="76" y="0"/>
                </a:moveTo>
                <a:lnTo>
                  <a:pt x="76" y="8"/>
                </a:lnTo>
                <a:lnTo>
                  <a:pt x="80" y="8"/>
                </a:lnTo>
                <a:lnTo>
                  <a:pt x="89" y="4"/>
                </a:lnTo>
                <a:lnTo>
                  <a:pt x="89" y="0"/>
                </a:lnTo>
                <a:lnTo>
                  <a:pt x="80" y="0"/>
                </a:lnTo>
                <a:lnTo>
                  <a:pt x="76" y="0"/>
                </a:lnTo>
                <a:close/>
                <a:moveTo>
                  <a:pt x="102" y="53"/>
                </a:moveTo>
                <a:lnTo>
                  <a:pt x="102" y="58"/>
                </a:lnTo>
                <a:lnTo>
                  <a:pt x="111" y="62"/>
                </a:lnTo>
                <a:lnTo>
                  <a:pt x="116" y="67"/>
                </a:lnTo>
                <a:lnTo>
                  <a:pt x="125" y="62"/>
                </a:lnTo>
                <a:lnTo>
                  <a:pt x="129" y="71"/>
                </a:lnTo>
                <a:lnTo>
                  <a:pt x="147" y="67"/>
                </a:lnTo>
                <a:lnTo>
                  <a:pt x="151" y="58"/>
                </a:lnTo>
                <a:lnTo>
                  <a:pt x="160" y="58"/>
                </a:lnTo>
                <a:lnTo>
                  <a:pt x="165" y="40"/>
                </a:lnTo>
                <a:lnTo>
                  <a:pt x="160" y="35"/>
                </a:lnTo>
                <a:lnTo>
                  <a:pt x="151" y="35"/>
                </a:lnTo>
                <a:lnTo>
                  <a:pt x="151" y="49"/>
                </a:lnTo>
                <a:lnTo>
                  <a:pt x="143" y="53"/>
                </a:lnTo>
                <a:lnTo>
                  <a:pt x="134" y="53"/>
                </a:lnTo>
                <a:lnTo>
                  <a:pt x="129" y="49"/>
                </a:lnTo>
                <a:lnTo>
                  <a:pt x="125" y="53"/>
                </a:lnTo>
                <a:lnTo>
                  <a:pt x="102" y="53"/>
                </a:lnTo>
                <a:close/>
                <a:moveTo>
                  <a:pt x="174" y="35"/>
                </a:moveTo>
                <a:lnTo>
                  <a:pt x="165" y="26"/>
                </a:lnTo>
                <a:lnTo>
                  <a:pt x="143" y="8"/>
                </a:lnTo>
                <a:lnTo>
                  <a:pt x="134" y="4"/>
                </a:lnTo>
                <a:lnTo>
                  <a:pt x="129" y="8"/>
                </a:lnTo>
                <a:lnTo>
                  <a:pt x="143" y="13"/>
                </a:lnTo>
                <a:lnTo>
                  <a:pt x="160" y="31"/>
                </a:lnTo>
                <a:lnTo>
                  <a:pt x="165" y="35"/>
                </a:lnTo>
                <a:lnTo>
                  <a:pt x="169" y="44"/>
                </a:lnTo>
                <a:lnTo>
                  <a:pt x="174" y="35"/>
                </a:lnTo>
                <a:close/>
                <a:moveTo>
                  <a:pt x="196" y="53"/>
                </a:moveTo>
                <a:lnTo>
                  <a:pt x="196" y="62"/>
                </a:lnTo>
                <a:lnTo>
                  <a:pt x="201" y="76"/>
                </a:lnTo>
                <a:lnTo>
                  <a:pt x="210" y="71"/>
                </a:lnTo>
                <a:lnTo>
                  <a:pt x="214" y="67"/>
                </a:lnTo>
                <a:lnTo>
                  <a:pt x="201" y="53"/>
                </a:lnTo>
                <a:lnTo>
                  <a:pt x="196" y="53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17" name="Freeform 138"/>
          <p:cNvSpPr>
            <a:spLocks/>
          </p:cNvSpPr>
          <p:nvPr/>
        </p:nvSpPr>
        <p:spPr bwMode="gray">
          <a:xfrm>
            <a:off x="2611086" y="4348876"/>
            <a:ext cx="282006" cy="200961"/>
          </a:xfrm>
          <a:custGeom>
            <a:avLst/>
            <a:gdLst>
              <a:gd name="T0" fmla="*/ 5 w 206"/>
              <a:gd name="T1" fmla="*/ 156 h 165"/>
              <a:gd name="T2" fmla="*/ 14 w 206"/>
              <a:gd name="T3" fmla="*/ 160 h 165"/>
              <a:gd name="T4" fmla="*/ 27 w 206"/>
              <a:gd name="T5" fmla="*/ 165 h 165"/>
              <a:gd name="T6" fmla="*/ 81 w 206"/>
              <a:gd name="T7" fmla="*/ 160 h 165"/>
              <a:gd name="T8" fmla="*/ 85 w 206"/>
              <a:gd name="T9" fmla="*/ 138 h 165"/>
              <a:gd name="T10" fmla="*/ 89 w 206"/>
              <a:gd name="T11" fmla="*/ 129 h 165"/>
              <a:gd name="T12" fmla="*/ 103 w 206"/>
              <a:gd name="T13" fmla="*/ 129 h 165"/>
              <a:gd name="T14" fmla="*/ 112 w 206"/>
              <a:gd name="T15" fmla="*/ 120 h 165"/>
              <a:gd name="T16" fmla="*/ 121 w 206"/>
              <a:gd name="T17" fmla="*/ 125 h 165"/>
              <a:gd name="T18" fmla="*/ 125 w 206"/>
              <a:gd name="T19" fmla="*/ 120 h 165"/>
              <a:gd name="T20" fmla="*/ 125 w 206"/>
              <a:gd name="T21" fmla="*/ 107 h 165"/>
              <a:gd name="T22" fmla="*/ 125 w 206"/>
              <a:gd name="T23" fmla="*/ 102 h 165"/>
              <a:gd name="T24" fmla="*/ 139 w 206"/>
              <a:gd name="T25" fmla="*/ 93 h 165"/>
              <a:gd name="T26" fmla="*/ 134 w 206"/>
              <a:gd name="T27" fmla="*/ 84 h 165"/>
              <a:gd name="T28" fmla="*/ 148 w 206"/>
              <a:gd name="T29" fmla="*/ 80 h 165"/>
              <a:gd name="T30" fmla="*/ 156 w 206"/>
              <a:gd name="T31" fmla="*/ 62 h 165"/>
              <a:gd name="T32" fmla="*/ 152 w 206"/>
              <a:gd name="T33" fmla="*/ 53 h 165"/>
              <a:gd name="T34" fmla="*/ 156 w 206"/>
              <a:gd name="T35" fmla="*/ 44 h 165"/>
              <a:gd name="T36" fmla="*/ 174 w 206"/>
              <a:gd name="T37" fmla="*/ 35 h 165"/>
              <a:gd name="T38" fmla="*/ 197 w 206"/>
              <a:gd name="T39" fmla="*/ 31 h 165"/>
              <a:gd name="T40" fmla="*/ 201 w 206"/>
              <a:gd name="T41" fmla="*/ 31 h 165"/>
              <a:gd name="T42" fmla="*/ 206 w 206"/>
              <a:gd name="T43" fmla="*/ 26 h 165"/>
              <a:gd name="T44" fmla="*/ 179 w 206"/>
              <a:gd name="T45" fmla="*/ 22 h 165"/>
              <a:gd name="T46" fmla="*/ 156 w 206"/>
              <a:gd name="T47" fmla="*/ 35 h 165"/>
              <a:gd name="T48" fmla="*/ 161 w 206"/>
              <a:gd name="T49" fmla="*/ 17 h 165"/>
              <a:gd name="T50" fmla="*/ 156 w 206"/>
              <a:gd name="T51" fmla="*/ 4 h 165"/>
              <a:gd name="T52" fmla="*/ 152 w 206"/>
              <a:gd name="T53" fmla="*/ 0 h 165"/>
              <a:gd name="T54" fmla="*/ 139 w 206"/>
              <a:gd name="T55" fmla="*/ 17 h 165"/>
              <a:gd name="T56" fmla="*/ 134 w 206"/>
              <a:gd name="T57" fmla="*/ 17 h 165"/>
              <a:gd name="T58" fmla="*/ 121 w 206"/>
              <a:gd name="T59" fmla="*/ 22 h 165"/>
              <a:gd name="T60" fmla="*/ 107 w 206"/>
              <a:gd name="T61" fmla="*/ 26 h 165"/>
              <a:gd name="T62" fmla="*/ 103 w 206"/>
              <a:gd name="T63" fmla="*/ 26 h 165"/>
              <a:gd name="T64" fmla="*/ 85 w 206"/>
              <a:gd name="T65" fmla="*/ 26 h 165"/>
              <a:gd name="T66" fmla="*/ 76 w 206"/>
              <a:gd name="T67" fmla="*/ 22 h 165"/>
              <a:gd name="T68" fmla="*/ 67 w 206"/>
              <a:gd name="T69" fmla="*/ 26 h 165"/>
              <a:gd name="T70" fmla="*/ 58 w 206"/>
              <a:gd name="T71" fmla="*/ 44 h 165"/>
              <a:gd name="T72" fmla="*/ 40 w 206"/>
              <a:gd name="T73" fmla="*/ 49 h 165"/>
              <a:gd name="T74" fmla="*/ 27 w 206"/>
              <a:gd name="T75" fmla="*/ 62 h 165"/>
              <a:gd name="T76" fmla="*/ 22 w 206"/>
              <a:gd name="T77" fmla="*/ 53 h 165"/>
              <a:gd name="T78" fmla="*/ 9 w 206"/>
              <a:gd name="T79" fmla="*/ 53 h 165"/>
              <a:gd name="T80" fmla="*/ 0 w 206"/>
              <a:gd name="T81" fmla="*/ 80 h 165"/>
              <a:gd name="T82" fmla="*/ 5 w 206"/>
              <a:gd name="T83" fmla="*/ 89 h 165"/>
              <a:gd name="T84" fmla="*/ 5 w 206"/>
              <a:gd name="T85" fmla="*/ 125 h 165"/>
              <a:gd name="T86" fmla="*/ 14 w 206"/>
              <a:gd name="T87" fmla="*/ 125 h 165"/>
              <a:gd name="T88" fmla="*/ 18 w 206"/>
              <a:gd name="T89" fmla="*/ 138 h 165"/>
              <a:gd name="T90" fmla="*/ 9 w 206"/>
              <a:gd name="T91" fmla="*/ 143 h 165"/>
              <a:gd name="T92" fmla="*/ 5 w 206"/>
              <a:gd name="T93" fmla="*/ 156 h 165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06"/>
              <a:gd name="T142" fmla="*/ 0 h 165"/>
              <a:gd name="T143" fmla="*/ 206 w 206"/>
              <a:gd name="T144" fmla="*/ 165 h 165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06" h="165">
                <a:moveTo>
                  <a:pt x="5" y="156"/>
                </a:moveTo>
                <a:lnTo>
                  <a:pt x="14" y="160"/>
                </a:lnTo>
                <a:lnTo>
                  <a:pt x="27" y="165"/>
                </a:lnTo>
                <a:lnTo>
                  <a:pt x="81" y="160"/>
                </a:lnTo>
                <a:lnTo>
                  <a:pt x="85" y="138"/>
                </a:lnTo>
                <a:lnTo>
                  <a:pt x="89" y="129"/>
                </a:lnTo>
                <a:lnTo>
                  <a:pt x="103" y="129"/>
                </a:lnTo>
                <a:lnTo>
                  <a:pt x="112" y="120"/>
                </a:lnTo>
                <a:lnTo>
                  <a:pt x="121" y="125"/>
                </a:lnTo>
                <a:lnTo>
                  <a:pt x="125" y="120"/>
                </a:lnTo>
                <a:lnTo>
                  <a:pt x="125" y="107"/>
                </a:lnTo>
                <a:lnTo>
                  <a:pt x="125" y="102"/>
                </a:lnTo>
                <a:lnTo>
                  <a:pt x="139" y="93"/>
                </a:lnTo>
                <a:lnTo>
                  <a:pt x="134" y="84"/>
                </a:lnTo>
                <a:lnTo>
                  <a:pt x="148" y="80"/>
                </a:lnTo>
                <a:lnTo>
                  <a:pt x="156" y="62"/>
                </a:lnTo>
                <a:lnTo>
                  <a:pt x="152" y="53"/>
                </a:lnTo>
                <a:lnTo>
                  <a:pt x="156" y="44"/>
                </a:lnTo>
                <a:lnTo>
                  <a:pt x="174" y="35"/>
                </a:lnTo>
                <a:lnTo>
                  <a:pt x="197" y="31"/>
                </a:lnTo>
                <a:lnTo>
                  <a:pt x="201" y="31"/>
                </a:lnTo>
                <a:lnTo>
                  <a:pt x="206" y="26"/>
                </a:lnTo>
                <a:lnTo>
                  <a:pt x="179" y="22"/>
                </a:lnTo>
                <a:lnTo>
                  <a:pt x="156" y="35"/>
                </a:lnTo>
                <a:lnTo>
                  <a:pt x="161" y="17"/>
                </a:lnTo>
                <a:lnTo>
                  <a:pt x="156" y="4"/>
                </a:lnTo>
                <a:lnTo>
                  <a:pt x="152" y="0"/>
                </a:lnTo>
                <a:lnTo>
                  <a:pt x="139" y="17"/>
                </a:lnTo>
                <a:lnTo>
                  <a:pt x="134" y="17"/>
                </a:lnTo>
                <a:lnTo>
                  <a:pt x="121" y="22"/>
                </a:lnTo>
                <a:lnTo>
                  <a:pt x="107" y="26"/>
                </a:lnTo>
                <a:lnTo>
                  <a:pt x="103" y="26"/>
                </a:lnTo>
                <a:lnTo>
                  <a:pt x="85" y="26"/>
                </a:lnTo>
                <a:lnTo>
                  <a:pt x="76" y="22"/>
                </a:lnTo>
                <a:lnTo>
                  <a:pt x="67" y="26"/>
                </a:lnTo>
                <a:lnTo>
                  <a:pt x="58" y="44"/>
                </a:lnTo>
                <a:lnTo>
                  <a:pt x="40" y="49"/>
                </a:lnTo>
                <a:lnTo>
                  <a:pt x="27" y="62"/>
                </a:lnTo>
                <a:lnTo>
                  <a:pt x="22" y="53"/>
                </a:lnTo>
                <a:lnTo>
                  <a:pt x="9" y="53"/>
                </a:lnTo>
                <a:lnTo>
                  <a:pt x="0" y="80"/>
                </a:lnTo>
                <a:lnTo>
                  <a:pt x="5" y="89"/>
                </a:lnTo>
                <a:lnTo>
                  <a:pt x="5" y="125"/>
                </a:lnTo>
                <a:lnTo>
                  <a:pt x="14" y="125"/>
                </a:lnTo>
                <a:lnTo>
                  <a:pt x="18" y="138"/>
                </a:lnTo>
                <a:lnTo>
                  <a:pt x="9" y="143"/>
                </a:lnTo>
                <a:lnTo>
                  <a:pt x="5" y="156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18" name="Freeform 139"/>
          <p:cNvSpPr>
            <a:spLocks noEditPoints="1"/>
          </p:cNvSpPr>
          <p:nvPr/>
        </p:nvSpPr>
        <p:spPr bwMode="gray">
          <a:xfrm>
            <a:off x="2298963" y="4266056"/>
            <a:ext cx="116362" cy="92564"/>
          </a:xfrm>
          <a:custGeom>
            <a:avLst/>
            <a:gdLst>
              <a:gd name="T0" fmla="*/ 0 w 85"/>
              <a:gd name="T1" fmla="*/ 50 h 76"/>
              <a:gd name="T2" fmla="*/ 18 w 85"/>
              <a:gd name="T3" fmla="*/ 63 h 76"/>
              <a:gd name="T4" fmla="*/ 23 w 85"/>
              <a:gd name="T5" fmla="*/ 68 h 76"/>
              <a:gd name="T6" fmla="*/ 23 w 85"/>
              <a:gd name="T7" fmla="*/ 54 h 76"/>
              <a:gd name="T8" fmla="*/ 18 w 85"/>
              <a:gd name="T9" fmla="*/ 54 h 76"/>
              <a:gd name="T10" fmla="*/ 14 w 85"/>
              <a:gd name="T11" fmla="*/ 54 h 76"/>
              <a:gd name="T12" fmla="*/ 5 w 85"/>
              <a:gd name="T13" fmla="*/ 50 h 76"/>
              <a:gd name="T14" fmla="*/ 0 w 85"/>
              <a:gd name="T15" fmla="*/ 50 h 76"/>
              <a:gd name="T16" fmla="*/ 5 w 85"/>
              <a:gd name="T17" fmla="*/ 23 h 76"/>
              <a:gd name="T18" fmla="*/ 9 w 85"/>
              <a:gd name="T19" fmla="*/ 23 h 76"/>
              <a:gd name="T20" fmla="*/ 5 w 85"/>
              <a:gd name="T21" fmla="*/ 23 h 76"/>
              <a:gd name="T22" fmla="*/ 9 w 85"/>
              <a:gd name="T23" fmla="*/ 27 h 76"/>
              <a:gd name="T24" fmla="*/ 14 w 85"/>
              <a:gd name="T25" fmla="*/ 23 h 76"/>
              <a:gd name="T26" fmla="*/ 14 w 85"/>
              <a:gd name="T27" fmla="*/ 27 h 76"/>
              <a:gd name="T28" fmla="*/ 14 w 85"/>
              <a:gd name="T29" fmla="*/ 32 h 76"/>
              <a:gd name="T30" fmla="*/ 9 w 85"/>
              <a:gd name="T31" fmla="*/ 32 h 76"/>
              <a:gd name="T32" fmla="*/ 23 w 85"/>
              <a:gd name="T33" fmla="*/ 41 h 76"/>
              <a:gd name="T34" fmla="*/ 18 w 85"/>
              <a:gd name="T35" fmla="*/ 45 h 76"/>
              <a:gd name="T36" fmla="*/ 27 w 85"/>
              <a:gd name="T37" fmla="*/ 50 h 76"/>
              <a:gd name="T38" fmla="*/ 27 w 85"/>
              <a:gd name="T39" fmla="*/ 54 h 76"/>
              <a:gd name="T40" fmla="*/ 32 w 85"/>
              <a:gd name="T41" fmla="*/ 54 h 76"/>
              <a:gd name="T42" fmla="*/ 32 w 85"/>
              <a:gd name="T43" fmla="*/ 59 h 76"/>
              <a:gd name="T44" fmla="*/ 27 w 85"/>
              <a:gd name="T45" fmla="*/ 59 h 76"/>
              <a:gd name="T46" fmla="*/ 27 w 85"/>
              <a:gd name="T47" fmla="*/ 63 h 76"/>
              <a:gd name="T48" fmla="*/ 49 w 85"/>
              <a:gd name="T49" fmla="*/ 50 h 76"/>
              <a:gd name="T50" fmla="*/ 54 w 85"/>
              <a:gd name="T51" fmla="*/ 54 h 76"/>
              <a:gd name="T52" fmla="*/ 54 w 85"/>
              <a:gd name="T53" fmla="*/ 68 h 76"/>
              <a:gd name="T54" fmla="*/ 67 w 85"/>
              <a:gd name="T55" fmla="*/ 76 h 76"/>
              <a:gd name="T56" fmla="*/ 67 w 85"/>
              <a:gd name="T57" fmla="*/ 63 h 76"/>
              <a:gd name="T58" fmla="*/ 63 w 85"/>
              <a:gd name="T59" fmla="*/ 54 h 76"/>
              <a:gd name="T60" fmla="*/ 67 w 85"/>
              <a:gd name="T61" fmla="*/ 54 h 76"/>
              <a:gd name="T62" fmla="*/ 72 w 85"/>
              <a:gd name="T63" fmla="*/ 59 h 76"/>
              <a:gd name="T64" fmla="*/ 76 w 85"/>
              <a:gd name="T65" fmla="*/ 41 h 76"/>
              <a:gd name="T66" fmla="*/ 85 w 85"/>
              <a:gd name="T67" fmla="*/ 36 h 76"/>
              <a:gd name="T68" fmla="*/ 81 w 85"/>
              <a:gd name="T69" fmla="*/ 27 h 76"/>
              <a:gd name="T70" fmla="*/ 76 w 85"/>
              <a:gd name="T71" fmla="*/ 32 h 76"/>
              <a:gd name="T72" fmla="*/ 67 w 85"/>
              <a:gd name="T73" fmla="*/ 23 h 76"/>
              <a:gd name="T74" fmla="*/ 63 w 85"/>
              <a:gd name="T75" fmla="*/ 9 h 76"/>
              <a:gd name="T76" fmla="*/ 54 w 85"/>
              <a:gd name="T77" fmla="*/ 14 h 76"/>
              <a:gd name="T78" fmla="*/ 54 w 85"/>
              <a:gd name="T79" fmla="*/ 14 h 76"/>
              <a:gd name="T80" fmla="*/ 49 w 85"/>
              <a:gd name="T81" fmla="*/ 18 h 76"/>
              <a:gd name="T82" fmla="*/ 45 w 85"/>
              <a:gd name="T83" fmla="*/ 18 h 76"/>
              <a:gd name="T84" fmla="*/ 36 w 85"/>
              <a:gd name="T85" fmla="*/ 5 h 76"/>
              <a:gd name="T86" fmla="*/ 32 w 85"/>
              <a:gd name="T87" fmla="*/ 5 h 76"/>
              <a:gd name="T88" fmla="*/ 27 w 85"/>
              <a:gd name="T89" fmla="*/ 0 h 76"/>
              <a:gd name="T90" fmla="*/ 23 w 85"/>
              <a:gd name="T91" fmla="*/ 9 h 76"/>
              <a:gd name="T92" fmla="*/ 27 w 85"/>
              <a:gd name="T93" fmla="*/ 14 h 76"/>
              <a:gd name="T94" fmla="*/ 36 w 85"/>
              <a:gd name="T95" fmla="*/ 18 h 76"/>
              <a:gd name="T96" fmla="*/ 32 w 85"/>
              <a:gd name="T97" fmla="*/ 23 h 76"/>
              <a:gd name="T98" fmla="*/ 27 w 85"/>
              <a:gd name="T99" fmla="*/ 18 h 76"/>
              <a:gd name="T100" fmla="*/ 18 w 85"/>
              <a:gd name="T101" fmla="*/ 23 h 76"/>
              <a:gd name="T102" fmla="*/ 9 w 85"/>
              <a:gd name="T103" fmla="*/ 18 h 76"/>
              <a:gd name="T104" fmla="*/ 5 w 85"/>
              <a:gd name="T105" fmla="*/ 23 h 7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85"/>
              <a:gd name="T160" fmla="*/ 0 h 76"/>
              <a:gd name="T161" fmla="*/ 85 w 85"/>
              <a:gd name="T162" fmla="*/ 76 h 7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85" h="76">
                <a:moveTo>
                  <a:pt x="0" y="50"/>
                </a:moveTo>
                <a:lnTo>
                  <a:pt x="18" y="63"/>
                </a:lnTo>
                <a:lnTo>
                  <a:pt x="23" y="68"/>
                </a:lnTo>
                <a:lnTo>
                  <a:pt x="23" y="54"/>
                </a:lnTo>
                <a:lnTo>
                  <a:pt x="18" y="54"/>
                </a:lnTo>
                <a:lnTo>
                  <a:pt x="14" y="54"/>
                </a:lnTo>
                <a:lnTo>
                  <a:pt x="5" y="50"/>
                </a:lnTo>
                <a:lnTo>
                  <a:pt x="0" y="50"/>
                </a:lnTo>
                <a:close/>
                <a:moveTo>
                  <a:pt x="5" y="23"/>
                </a:moveTo>
                <a:lnTo>
                  <a:pt x="9" y="23"/>
                </a:lnTo>
                <a:lnTo>
                  <a:pt x="5" y="23"/>
                </a:lnTo>
                <a:lnTo>
                  <a:pt x="9" y="27"/>
                </a:lnTo>
                <a:lnTo>
                  <a:pt x="14" y="23"/>
                </a:lnTo>
                <a:lnTo>
                  <a:pt x="14" y="27"/>
                </a:lnTo>
                <a:lnTo>
                  <a:pt x="14" y="32"/>
                </a:lnTo>
                <a:lnTo>
                  <a:pt x="9" y="32"/>
                </a:lnTo>
                <a:lnTo>
                  <a:pt x="23" y="41"/>
                </a:lnTo>
                <a:lnTo>
                  <a:pt x="18" y="45"/>
                </a:lnTo>
                <a:lnTo>
                  <a:pt x="27" y="50"/>
                </a:lnTo>
                <a:lnTo>
                  <a:pt x="27" y="54"/>
                </a:lnTo>
                <a:lnTo>
                  <a:pt x="32" y="54"/>
                </a:lnTo>
                <a:lnTo>
                  <a:pt x="32" y="59"/>
                </a:lnTo>
                <a:lnTo>
                  <a:pt x="27" y="59"/>
                </a:lnTo>
                <a:lnTo>
                  <a:pt x="27" y="63"/>
                </a:lnTo>
                <a:lnTo>
                  <a:pt x="49" y="50"/>
                </a:lnTo>
                <a:lnTo>
                  <a:pt x="54" y="54"/>
                </a:lnTo>
                <a:lnTo>
                  <a:pt x="54" y="68"/>
                </a:lnTo>
                <a:lnTo>
                  <a:pt x="67" y="76"/>
                </a:lnTo>
                <a:lnTo>
                  <a:pt x="67" y="63"/>
                </a:lnTo>
                <a:lnTo>
                  <a:pt x="63" y="54"/>
                </a:lnTo>
                <a:lnTo>
                  <a:pt x="67" y="54"/>
                </a:lnTo>
                <a:lnTo>
                  <a:pt x="72" y="59"/>
                </a:lnTo>
                <a:lnTo>
                  <a:pt x="76" y="41"/>
                </a:lnTo>
                <a:lnTo>
                  <a:pt x="85" y="36"/>
                </a:lnTo>
                <a:lnTo>
                  <a:pt x="81" y="27"/>
                </a:lnTo>
                <a:lnTo>
                  <a:pt x="76" y="32"/>
                </a:lnTo>
                <a:lnTo>
                  <a:pt x="67" y="23"/>
                </a:lnTo>
                <a:lnTo>
                  <a:pt x="63" y="9"/>
                </a:lnTo>
                <a:lnTo>
                  <a:pt x="54" y="14"/>
                </a:lnTo>
                <a:lnTo>
                  <a:pt x="49" y="18"/>
                </a:lnTo>
                <a:lnTo>
                  <a:pt x="45" y="18"/>
                </a:lnTo>
                <a:lnTo>
                  <a:pt x="36" y="5"/>
                </a:lnTo>
                <a:lnTo>
                  <a:pt x="32" y="5"/>
                </a:lnTo>
                <a:lnTo>
                  <a:pt x="27" y="0"/>
                </a:lnTo>
                <a:lnTo>
                  <a:pt x="23" y="9"/>
                </a:lnTo>
                <a:lnTo>
                  <a:pt x="27" y="14"/>
                </a:lnTo>
                <a:lnTo>
                  <a:pt x="36" y="18"/>
                </a:lnTo>
                <a:lnTo>
                  <a:pt x="32" y="23"/>
                </a:lnTo>
                <a:lnTo>
                  <a:pt x="27" y="18"/>
                </a:lnTo>
                <a:lnTo>
                  <a:pt x="18" y="23"/>
                </a:lnTo>
                <a:lnTo>
                  <a:pt x="9" y="18"/>
                </a:lnTo>
                <a:lnTo>
                  <a:pt x="5" y="23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19" name="Freeform 140"/>
          <p:cNvSpPr>
            <a:spLocks/>
          </p:cNvSpPr>
          <p:nvPr/>
        </p:nvSpPr>
        <p:spPr bwMode="gray">
          <a:xfrm>
            <a:off x="2409849" y="4604645"/>
            <a:ext cx="12321" cy="9744"/>
          </a:xfrm>
          <a:custGeom>
            <a:avLst/>
            <a:gdLst>
              <a:gd name="T0" fmla="*/ 4 w 9"/>
              <a:gd name="T1" fmla="*/ 0 h 8"/>
              <a:gd name="T2" fmla="*/ 0 w 9"/>
              <a:gd name="T3" fmla="*/ 8 h 8"/>
              <a:gd name="T4" fmla="*/ 4 w 9"/>
              <a:gd name="T5" fmla="*/ 8 h 8"/>
              <a:gd name="T6" fmla="*/ 9 w 9"/>
              <a:gd name="T7" fmla="*/ 0 h 8"/>
              <a:gd name="T8" fmla="*/ 4 w 9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8"/>
              <a:gd name="T17" fmla="*/ 9 w 9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8">
                <a:moveTo>
                  <a:pt x="4" y="0"/>
                </a:moveTo>
                <a:lnTo>
                  <a:pt x="0" y="8"/>
                </a:lnTo>
                <a:lnTo>
                  <a:pt x="4" y="8"/>
                </a:lnTo>
                <a:lnTo>
                  <a:pt x="9" y="0"/>
                </a:lnTo>
                <a:lnTo>
                  <a:pt x="4" y="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0" name="Freeform 141"/>
          <p:cNvSpPr>
            <a:spLocks/>
          </p:cNvSpPr>
          <p:nvPr/>
        </p:nvSpPr>
        <p:spPr bwMode="gray">
          <a:xfrm>
            <a:off x="3149087" y="4604645"/>
            <a:ext cx="98565" cy="113269"/>
          </a:xfrm>
          <a:custGeom>
            <a:avLst/>
            <a:gdLst>
              <a:gd name="T0" fmla="*/ 23 w 72"/>
              <a:gd name="T1" fmla="*/ 76 h 93"/>
              <a:gd name="T2" fmla="*/ 27 w 72"/>
              <a:gd name="T3" fmla="*/ 71 h 93"/>
              <a:gd name="T4" fmla="*/ 31 w 72"/>
              <a:gd name="T5" fmla="*/ 76 h 93"/>
              <a:gd name="T6" fmla="*/ 36 w 72"/>
              <a:gd name="T7" fmla="*/ 71 h 93"/>
              <a:gd name="T8" fmla="*/ 40 w 72"/>
              <a:gd name="T9" fmla="*/ 67 h 93"/>
              <a:gd name="T10" fmla="*/ 45 w 72"/>
              <a:gd name="T11" fmla="*/ 71 h 93"/>
              <a:gd name="T12" fmla="*/ 45 w 72"/>
              <a:gd name="T13" fmla="*/ 67 h 93"/>
              <a:gd name="T14" fmla="*/ 49 w 72"/>
              <a:gd name="T15" fmla="*/ 67 h 93"/>
              <a:gd name="T16" fmla="*/ 54 w 72"/>
              <a:gd name="T17" fmla="*/ 80 h 93"/>
              <a:gd name="T18" fmla="*/ 58 w 72"/>
              <a:gd name="T19" fmla="*/ 89 h 93"/>
              <a:gd name="T20" fmla="*/ 63 w 72"/>
              <a:gd name="T21" fmla="*/ 93 h 93"/>
              <a:gd name="T22" fmla="*/ 72 w 72"/>
              <a:gd name="T23" fmla="*/ 89 h 93"/>
              <a:gd name="T24" fmla="*/ 67 w 72"/>
              <a:gd name="T25" fmla="*/ 80 h 93"/>
              <a:gd name="T26" fmla="*/ 67 w 72"/>
              <a:gd name="T27" fmla="*/ 71 h 93"/>
              <a:gd name="T28" fmla="*/ 63 w 72"/>
              <a:gd name="T29" fmla="*/ 44 h 93"/>
              <a:gd name="T30" fmla="*/ 58 w 72"/>
              <a:gd name="T31" fmla="*/ 44 h 93"/>
              <a:gd name="T32" fmla="*/ 58 w 72"/>
              <a:gd name="T33" fmla="*/ 53 h 93"/>
              <a:gd name="T34" fmla="*/ 49 w 72"/>
              <a:gd name="T35" fmla="*/ 53 h 93"/>
              <a:gd name="T36" fmla="*/ 54 w 72"/>
              <a:gd name="T37" fmla="*/ 44 h 93"/>
              <a:gd name="T38" fmla="*/ 67 w 72"/>
              <a:gd name="T39" fmla="*/ 35 h 93"/>
              <a:gd name="T40" fmla="*/ 67 w 72"/>
              <a:gd name="T41" fmla="*/ 22 h 93"/>
              <a:gd name="T42" fmla="*/ 31 w 72"/>
              <a:gd name="T43" fmla="*/ 17 h 93"/>
              <a:gd name="T44" fmla="*/ 27 w 72"/>
              <a:gd name="T45" fmla="*/ 13 h 93"/>
              <a:gd name="T46" fmla="*/ 9 w 72"/>
              <a:gd name="T47" fmla="*/ 0 h 93"/>
              <a:gd name="T48" fmla="*/ 5 w 72"/>
              <a:gd name="T49" fmla="*/ 4 h 93"/>
              <a:gd name="T50" fmla="*/ 0 w 72"/>
              <a:gd name="T51" fmla="*/ 17 h 93"/>
              <a:gd name="T52" fmla="*/ 14 w 72"/>
              <a:gd name="T53" fmla="*/ 22 h 93"/>
              <a:gd name="T54" fmla="*/ 9 w 72"/>
              <a:gd name="T55" fmla="*/ 26 h 93"/>
              <a:gd name="T56" fmla="*/ 5 w 72"/>
              <a:gd name="T57" fmla="*/ 31 h 93"/>
              <a:gd name="T58" fmla="*/ 9 w 72"/>
              <a:gd name="T59" fmla="*/ 35 h 93"/>
              <a:gd name="T60" fmla="*/ 9 w 72"/>
              <a:gd name="T61" fmla="*/ 44 h 93"/>
              <a:gd name="T62" fmla="*/ 23 w 72"/>
              <a:gd name="T63" fmla="*/ 76 h 93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72"/>
              <a:gd name="T97" fmla="*/ 0 h 93"/>
              <a:gd name="T98" fmla="*/ 72 w 72"/>
              <a:gd name="T99" fmla="*/ 93 h 93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72" h="93">
                <a:moveTo>
                  <a:pt x="23" y="76"/>
                </a:moveTo>
                <a:lnTo>
                  <a:pt x="27" y="71"/>
                </a:lnTo>
                <a:lnTo>
                  <a:pt x="31" y="76"/>
                </a:lnTo>
                <a:lnTo>
                  <a:pt x="36" y="71"/>
                </a:lnTo>
                <a:lnTo>
                  <a:pt x="40" y="67"/>
                </a:lnTo>
                <a:lnTo>
                  <a:pt x="45" y="71"/>
                </a:lnTo>
                <a:lnTo>
                  <a:pt x="45" y="67"/>
                </a:lnTo>
                <a:lnTo>
                  <a:pt x="49" y="67"/>
                </a:lnTo>
                <a:lnTo>
                  <a:pt x="54" y="80"/>
                </a:lnTo>
                <a:lnTo>
                  <a:pt x="58" y="89"/>
                </a:lnTo>
                <a:lnTo>
                  <a:pt x="63" y="93"/>
                </a:lnTo>
                <a:lnTo>
                  <a:pt x="72" y="89"/>
                </a:lnTo>
                <a:lnTo>
                  <a:pt x="67" y="80"/>
                </a:lnTo>
                <a:lnTo>
                  <a:pt x="67" y="71"/>
                </a:lnTo>
                <a:lnTo>
                  <a:pt x="63" y="44"/>
                </a:lnTo>
                <a:lnTo>
                  <a:pt x="58" y="44"/>
                </a:lnTo>
                <a:lnTo>
                  <a:pt x="58" y="53"/>
                </a:lnTo>
                <a:lnTo>
                  <a:pt x="49" y="53"/>
                </a:lnTo>
                <a:lnTo>
                  <a:pt x="54" y="44"/>
                </a:lnTo>
                <a:lnTo>
                  <a:pt x="67" y="35"/>
                </a:lnTo>
                <a:lnTo>
                  <a:pt x="67" y="22"/>
                </a:lnTo>
                <a:lnTo>
                  <a:pt x="31" y="17"/>
                </a:lnTo>
                <a:lnTo>
                  <a:pt x="27" y="13"/>
                </a:lnTo>
                <a:lnTo>
                  <a:pt x="9" y="0"/>
                </a:lnTo>
                <a:lnTo>
                  <a:pt x="5" y="4"/>
                </a:lnTo>
                <a:lnTo>
                  <a:pt x="0" y="17"/>
                </a:lnTo>
                <a:lnTo>
                  <a:pt x="14" y="22"/>
                </a:lnTo>
                <a:lnTo>
                  <a:pt x="9" y="26"/>
                </a:lnTo>
                <a:lnTo>
                  <a:pt x="5" y="31"/>
                </a:lnTo>
                <a:lnTo>
                  <a:pt x="9" y="35"/>
                </a:lnTo>
                <a:lnTo>
                  <a:pt x="9" y="44"/>
                </a:lnTo>
                <a:lnTo>
                  <a:pt x="23" y="76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1" name="Freeform 142"/>
          <p:cNvSpPr>
            <a:spLocks/>
          </p:cNvSpPr>
          <p:nvPr/>
        </p:nvSpPr>
        <p:spPr bwMode="gray">
          <a:xfrm>
            <a:off x="2274322" y="4287979"/>
            <a:ext cx="68448" cy="60897"/>
          </a:xfrm>
          <a:custGeom>
            <a:avLst/>
            <a:gdLst>
              <a:gd name="T0" fmla="*/ 0 w 50"/>
              <a:gd name="T1" fmla="*/ 0 h 50"/>
              <a:gd name="T2" fmla="*/ 5 w 50"/>
              <a:gd name="T3" fmla="*/ 18 h 50"/>
              <a:gd name="T4" fmla="*/ 14 w 50"/>
              <a:gd name="T5" fmla="*/ 23 h 50"/>
              <a:gd name="T6" fmla="*/ 18 w 50"/>
              <a:gd name="T7" fmla="*/ 32 h 50"/>
              <a:gd name="T8" fmla="*/ 23 w 50"/>
              <a:gd name="T9" fmla="*/ 32 h 50"/>
              <a:gd name="T10" fmla="*/ 32 w 50"/>
              <a:gd name="T11" fmla="*/ 36 h 50"/>
              <a:gd name="T12" fmla="*/ 36 w 50"/>
              <a:gd name="T13" fmla="*/ 36 h 50"/>
              <a:gd name="T14" fmla="*/ 41 w 50"/>
              <a:gd name="T15" fmla="*/ 36 h 50"/>
              <a:gd name="T16" fmla="*/ 41 w 50"/>
              <a:gd name="T17" fmla="*/ 50 h 50"/>
              <a:gd name="T18" fmla="*/ 45 w 50"/>
              <a:gd name="T19" fmla="*/ 50 h 50"/>
              <a:gd name="T20" fmla="*/ 45 w 50"/>
              <a:gd name="T21" fmla="*/ 45 h 50"/>
              <a:gd name="T22" fmla="*/ 45 w 50"/>
              <a:gd name="T23" fmla="*/ 41 h 50"/>
              <a:gd name="T24" fmla="*/ 50 w 50"/>
              <a:gd name="T25" fmla="*/ 41 h 50"/>
              <a:gd name="T26" fmla="*/ 50 w 50"/>
              <a:gd name="T27" fmla="*/ 36 h 50"/>
              <a:gd name="T28" fmla="*/ 45 w 50"/>
              <a:gd name="T29" fmla="*/ 36 h 50"/>
              <a:gd name="T30" fmla="*/ 45 w 50"/>
              <a:gd name="T31" fmla="*/ 32 h 50"/>
              <a:gd name="T32" fmla="*/ 36 w 50"/>
              <a:gd name="T33" fmla="*/ 27 h 50"/>
              <a:gd name="T34" fmla="*/ 41 w 50"/>
              <a:gd name="T35" fmla="*/ 23 h 50"/>
              <a:gd name="T36" fmla="*/ 27 w 50"/>
              <a:gd name="T37" fmla="*/ 14 h 50"/>
              <a:gd name="T38" fmla="*/ 32 w 50"/>
              <a:gd name="T39" fmla="*/ 14 h 50"/>
              <a:gd name="T40" fmla="*/ 32 w 50"/>
              <a:gd name="T41" fmla="*/ 9 h 50"/>
              <a:gd name="T42" fmla="*/ 32 w 50"/>
              <a:gd name="T43" fmla="*/ 5 h 50"/>
              <a:gd name="T44" fmla="*/ 27 w 50"/>
              <a:gd name="T45" fmla="*/ 9 h 50"/>
              <a:gd name="T46" fmla="*/ 23 w 50"/>
              <a:gd name="T47" fmla="*/ 5 h 50"/>
              <a:gd name="T48" fmla="*/ 27 w 50"/>
              <a:gd name="T49" fmla="*/ 5 h 50"/>
              <a:gd name="T50" fmla="*/ 23 w 50"/>
              <a:gd name="T51" fmla="*/ 5 h 50"/>
              <a:gd name="T52" fmla="*/ 14 w 50"/>
              <a:gd name="T53" fmla="*/ 0 h 50"/>
              <a:gd name="T54" fmla="*/ 9 w 50"/>
              <a:gd name="T55" fmla="*/ 5 h 50"/>
              <a:gd name="T56" fmla="*/ 0 w 50"/>
              <a:gd name="T57" fmla="*/ 0 h 5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50"/>
              <a:gd name="T88" fmla="*/ 0 h 50"/>
              <a:gd name="T89" fmla="*/ 50 w 50"/>
              <a:gd name="T90" fmla="*/ 50 h 50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50" h="50">
                <a:moveTo>
                  <a:pt x="0" y="0"/>
                </a:moveTo>
                <a:lnTo>
                  <a:pt x="5" y="18"/>
                </a:lnTo>
                <a:lnTo>
                  <a:pt x="14" y="23"/>
                </a:lnTo>
                <a:lnTo>
                  <a:pt x="18" y="32"/>
                </a:lnTo>
                <a:lnTo>
                  <a:pt x="23" y="32"/>
                </a:lnTo>
                <a:lnTo>
                  <a:pt x="32" y="36"/>
                </a:lnTo>
                <a:lnTo>
                  <a:pt x="36" y="36"/>
                </a:lnTo>
                <a:lnTo>
                  <a:pt x="41" y="36"/>
                </a:lnTo>
                <a:lnTo>
                  <a:pt x="41" y="50"/>
                </a:lnTo>
                <a:lnTo>
                  <a:pt x="45" y="50"/>
                </a:lnTo>
                <a:lnTo>
                  <a:pt x="45" y="45"/>
                </a:lnTo>
                <a:lnTo>
                  <a:pt x="45" y="41"/>
                </a:lnTo>
                <a:lnTo>
                  <a:pt x="50" y="41"/>
                </a:lnTo>
                <a:lnTo>
                  <a:pt x="50" y="36"/>
                </a:lnTo>
                <a:lnTo>
                  <a:pt x="45" y="36"/>
                </a:lnTo>
                <a:lnTo>
                  <a:pt x="45" y="32"/>
                </a:lnTo>
                <a:lnTo>
                  <a:pt x="36" y="27"/>
                </a:lnTo>
                <a:lnTo>
                  <a:pt x="41" y="23"/>
                </a:lnTo>
                <a:lnTo>
                  <a:pt x="27" y="14"/>
                </a:lnTo>
                <a:lnTo>
                  <a:pt x="32" y="14"/>
                </a:lnTo>
                <a:lnTo>
                  <a:pt x="32" y="9"/>
                </a:lnTo>
                <a:lnTo>
                  <a:pt x="32" y="5"/>
                </a:lnTo>
                <a:lnTo>
                  <a:pt x="27" y="9"/>
                </a:lnTo>
                <a:lnTo>
                  <a:pt x="23" y="5"/>
                </a:lnTo>
                <a:lnTo>
                  <a:pt x="27" y="5"/>
                </a:lnTo>
                <a:lnTo>
                  <a:pt x="23" y="5"/>
                </a:lnTo>
                <a:lnTo>
                  <a:pt x="14" y="0"/>
                </a:lnTo>
                <a:lnTo>
                  <a:pt x="9" y="5"/>
                </a:lnTo>
                <a:lnTo>
                  <a:pt x="0" y="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2" name="Freeform 143"/>
          <p:cNvSpPr>
            <a:spLocks/>
          </p:cNvSpPr>
          <p:nvPr/>
        </p:nvSpPr>
        <p:spPr bwMode="gray">
          <a:xfrm>
            <a:off x="3168253" y="4571760"/>
            <a:ext cx="54758" cy="32885"/>
          </a:xfrm>
          <a:custGeom>
            <a:avLst/>
            <a:gdLst>
              <a:gd name="T0" fmla="*/ 0 w 40"/>
              <a:gd name="T1" fmla="*/ 22 h 27"/>
              <a:gd name="T2" fmla="*/ 0 w 40"/>
              <a:gd name="T3" fmla="*/ 27 h 27"/>
              <a:gd name="T4" fmla="*/ 4 w 40"/>
              <a:gd name="T5" fmla="*/ 27 h 27"/>
              <a:gd name="T6" fmla="*/ 17 w 40"/>
              <a:gd name="T7" fmla="*/ 27 h 27"/>
              <a:gd name="T8" fmla="*/ 22 w 40"/>
              <a:gd name="T9" fmla="*/ 22 h 27"/>
              <a:gd name="T10" fmla="*/ 40 w 40"/>
              <a:gd name="T11" fmla="*/ 22 h 27"/>
              <a:gd name="T12" fmla="*/ 40 w 40"/>
              <a:gd name="T13" fmla="*/ 4 h 27"/>
              <a:gd name="T14" fmla="*/ 35 w 40"/>
              <a:gd name="T15" fmla="*/ 4 h 27"/>
              <a:gd name="T16" fmla="*/ 26 w 40"/>
              <a:gd name="T17" fmla="*/ 0 h 27"/>
              <a:gd name="T18" fmla="*/ 13 w 40"/>
              <a:gd name="T19" fmla="*/ 9 h 27"/>
              <a:gd name="T20" fmla="*/ 0 w 40"/>
              <a:gd name="T21" fmla="*/ 22 h 2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0"/>
              <a:gd name="T34" fmla="*/ 0 h 27"/>
              <a:gd name="T35" fmla="*/ 40 w 40"/>
              <a:gd name="T36" fmla="*/ 27 h 2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0" h="27">
                <a:moveTo>
                  <a:pt x="0" y="22"/>
                </a:moveTo>
                <a:lnTo>
                  <a:pt x="0" y="27"/>
                </a:lnTo>
                <a:lnTo>
                  <a:pt x="4" y="27"/>
                </a:lnTo>
                <a:lnTo>
                  <a:pt x="17" y="27"/>
                </a:lnTo>
                <a:lnTo>
                  <a:pt x="22" y="22"/>
                </a:lnTo>
                <a:lnTo>
                  <a:pt x="40" y="22"/>
                </a:lnTo>
                <a:lnTo>
                  <a:pt x="40" y="4"/>
                </a:lnTo>
                <a:lnTo>
                  <a:pt x="35" y="4"/>
                </a:lnTo>
                <a:lnTo>
                  <a:pt x="26" y="0"/>
                </a:lnTo>
                <a:lnTo>
                  <a:pt x="13" y="9"/>
                </a:lnTo>
                <a:lnTo>
                  <a:pt x="0" y="22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3" name="Freeform 144"/>
          <p:cNvSpPr>
            <a:spLocks noEditPoints="1"/>
          </p:cNvSpPr>
          <p:nvPr/>
        </p:nvSpPr>
        <p:spPr bwMode="gray">
          <a:xfrm>
            <a:off x="4507095" y="5229451"/>
            <a:ext cx="97196" cy="60897"/>
          </a:xfrm>
          <a:custGeom>
            <a:avLst/>
            <a:gdLst>
              <a:gd name="T0" fmla="*/ 4 w 71"/>
              <a:gd name="T1" fmla="*/ 5 h 50"/>
              <a:gd name="T2" fmla="*/ 0 w 71"/>
              <a:gd name="T3" fmla="*/ 9 h 50"/>
              <a:gd name="T4" fmla="*/ 4 w 71"/>
              <a:gd name="T5" fmla="*/ 14 h 50"/>
              <a:gd name="T6" fmla="*/ 9 w 71"/>
              <a:gd name="T7" fmla="*/ 18 h 50"/>
              <a:gd name="T8" fmla="*/ 13 w 71"/>
              <a:gd name="T9" fmla="*/ 14 h 50"/>
              <a:gd name="T10" fmla="*/ 9 w 71"/>
              <a:gd name="T11" fmla="*/ 14 h 50"/>
              <a:gd name="T12" fmla="*/ 4 w 71"/>
              <a:gd name="T13" fmla="*/ 5 h 50"/>
              <a:gd name="T14" fmla="*/ 18 w 71"/>
              <a:gd name="T15" fmla="*/ 0 h 50"/>
              <a:gd name="T16" fmla="*/ 13 w 71"/>
              <a:gd name="T17" fmla="*/ 0 h 50"/>
              <a:gd name="T18" fmla="*/ 18 w 71"/>
              <a:gd name="T19" fmla="*/ 9 h 50"/>
              <a:gd name="T20" fmla="*/ 31 w 71"/>
              <a:gd name="T21" fmla="*/ 14 h 50"/>
              <a:gd name="T22" fmla="*/ 36 w 71"/>
              <a:gd name="T23" fmla="*/ 18 h 50"/>
              <a:gd name="T24" fmla="*/ 31 w 71"/>
              <a:gd name="T25" fmla="*/ 9 h 50"/>
              <a:gd name="T26" fmla="*/ 18 w 71"/>
              <a:gd name="T27" fmla="*/ 0 h 50"/>
              <a:gd name="T28" fmla="*/ 31 w 71"/>
              <a:gd name="T29" fmla="*/ 23 h 50"/>
              <a:gd name="T30" fmla="*/ 27 w 71"/>
              <a:gd name="T31" fmla="*/ 27 h 50"/>
              <a:gd name="T32" fmla="*/ 40 w 71"/>
              <a:gd name="T33" fmla="*/ 36 h 50"/>
              <a:gd name="T34" fmla="*/ 45 w 71"/>
              <a:gd name="T35" fmla="*/ 36 h 50"/>
              <a:gd name="T36" fmla="*/ 49 w 71"/>
              <a:gd name="T37" fmla="*/ 32 h 50"/>
              <a:gd name="T38" fmla="*/ 40 w 71"/>
              <a:gd name="T39" fmla="*/ 27 h 50"/>
              <a:gd name="T40" fmla="*/ 31 w 71"/>
              <a:gd name="T41" fmla="*/ 23 h 50"/>
              <a:gd name="T42" fmla="*/ 49 w 71"/>
              <a:gd name="T43" fmla="*/ 14 h 50"/>
              <a:gd name="T44" fmla="*/ 53 w 71"/>
              <a:gd name="T45" fmla="*/ 32 h 50"/>
              <a:gd name="T46" fmla="*/ 58 w 71"/>
              <a:gd name="T47" fmla="*/ 32 h 50"/>
              <a:gd name="T48" fmla="*/ 58 w 71"/>
              <a:gd name="T49" fmla="*/ 27 h 50"/>
              <a:gd name="T50" fmla="*/ 58 w 71"/>
              <a:gd name="T51" fmla="*/ 27 h 50"/>
              <a:gd name="T52" fmla="*/ 49 w 71"/>
              <a:gd name="T53" fmla="*/ 14 h 50"/>
              <a:gd name="T54" fmla="*/ 53 w 71"/>
              <a:gd name="T55" fmla="*/ 36 h 50"/>
              <a:gd name="T56" fmla="*/ 53 w 71"/>
              <a:gd name="T57" fmla="*/ 41 h 50"/>
              <a:gd name="T58" fmla="*/ 67 w 71"/>
              <a:gd name="T59" fmla="*/ 50 h 50"/>
              <a:gd name="T60" fmla="*/ 71 w 71"/>
              <a:gd name="T61" fmla="*/ 50 h 50"/>
              <a:gd name="T62" fmla="*/ 67 w 71"/>
              <a:gd name="T63" fmla="*/ 41 h 50"/>
              <a:gd name="T64" fmla="*/ 53 w 71"/>
              <a:gd name="T65" fmla="*/ 36 h 5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71"/>
              <a:gd name="T100" fmla="*/ 0 h 50"/>
              <a:gd name="T101" fmla="*/ 71 w 71"/>
              <a:gd name="T102" fmla="*/ 50 h 5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71" h="50">
                <a:moveTo>
                  <a:pt x="4" y="5"/>
                </a:moveTo>
                <a:lnTo>
                  <a:pt x="0" y="9"/>
                </a:lnTo>
                <a:lnTo>
                  <a:pt x="4" y="14"/>
                </a:lnTo>
                <a:lnTo>
                  <a:pt x="9" y="18"/>
                </a:lnTo>
                <a:lnTo>
                  <a:pt x="13" y="14"/>
                </a:lnTo>
                <a:lnTo>
                  <a:pt x="9" y="14"/>
                </a:lnTo>
                <a:lnTo>
                  <a:pt x="4" y="5"/>
                </a:lnTo>
                <a:close/>
                <a:moveTo>
                  <a:pt x="18" y="0"/>
                </a:moveTo>
                <a:lnTo>
                  <a:pt x="13" y="0"/>
                </a:lnTo>
                <a:lnTo>
                  <a:pt x="18" y="9"/>
                </a:lnTo>
                <a:lnTo>
                  <a:pt x="31" y="14"/>
                </a:lnTo>
                <a:lnTo>
                  <a:pt x="36" y="18"/>
                </a:lnTo>
                <a:lnTo>
                  <a:pt x="31" y="9"/>
                </a:lnTo>
                <a:lnTo>
                  <a:pt x="18" y="0"/>
                </a:lnTo>
                <a:close/>
                <a:moveTo>
                  <a:pt x="31" y="23"/>
                </a:moveTo>
                <a:lnTo>
                  <a:pt x="27" y="27"/>
                </a:lnTo>
                <a:lnTo>
                  <a:pt x="40" y="36"/>
                </a:lnTo>
                <a:lnTo>
                  <a:pt x="45" y="36"/>
                </a:lnTo>
                <a:lnTo>
                  <a:pt x="49" y="32"/>
                </a:lnTo>
                <a:lnTo>
                  <a:pt x="40" y="27"/>
                </a:lnTo>
                <a:lnTo>
                  <a:pt x="31" y="23"/>
                </a:lnTo>
                <a:close/>
                <a:moveTo>
                  <a:pt x="49" y="14"/>
                </a:moveTo>
                <a:lnTo>
                  <a:pt x="53" y="32"/>
                </a:lnTo>
                <a:lnTo>
                  <a:pt x="58" y="32"/>
                </a:lnTo>
                <a:lnTo>
                  <a:pt x="58" y="27"/>
                </a:lnTo>
                <a:lnTo>
                  <a:pt x="49" y="14"/>
                </a:lnTo>
                <a:close/>
                <a:moveTo>
                  <a:pt x="53" y="36"/>
                </a:moveTo>
                <a:lnTo>
                  <a:pt x="53" y="41"/>
                </a:lnTo>
                <a:lnTo>
                  <a:pt x="67" y="50"/>
                </a:lnTo>
                <a:lnTo>
                  <a:pt x="71" y="50"/>
                </a:lnTo>
                <a:lnTo>
                  <a:pt x="67" y="41"/>
                </a:lnTo>
                <a:lnTo>
                  <a:pt x="53" y="36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4" name="Freeform 145"/>
          <p:cNvSpPr>
            <a:spLocks/>
          </p:cNvSpPr>
          <p:nvPr/>
        </p:nvSpPr>
        <p:spPr bwMode="gray">
          <a:xfrm>
            <a:off x="3656971" y="4995605"/>
            <a:ext cx="30117" cy="21923"/>
          </a:xfrm>
          <a:custGeom>
            <a:avLst/>
            <a:gdLst>
              <a:gd name="T0" fmla="*/ 0 w 22"/>
              <a:gd name="T1" fmla="*/ 9 h 18"/>
              <a:gd name="T2" fmla="*/ 4 w 22"/>
              <a:gd name="T3" fmla="*/ 14 h 18"/>
              <a:gd name="T4" fmla="*/ 13 w 22"/>
              <a:gd name="T5" fmla="*/ 18 h 18"/>
              <a:gd name="T6" fmla="*/ 13 w 22"/>
              <a:gd name="T7" fmla="*/ 9 h 18"/>
              <a:gd name="T8" fmla="*/ 18 w 22"/>
              <a:gd name="T9" fmla="*/ 14 h 18"/>
              <a:gd name="T10" fmla="*/ 22 w 22"/>
              <a:gd name="T11" fmla="*/ 0 h 18"/>
              <a:gd name="T12" fmla="*/ 18 w 22"/>
              <a:gd name="T13" fmla="*/ 5 h 18"/>
              <a:gd name="T14" fmla="*/ 18 w 22"/>
              <a:gd name="T15" fmla="*/ 0 h 18"/>
              <a:gd name="T16" fmla="*/ 0 w 22"/>
              <a:gd name="T17" fmla="*/ 9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2"/>
              <a:gd name="T28" fmla="*/ 0 h 18"/>
              <a:gd name="T29" fmla="*/ 22 w 22"/>
              <a:gd name="T30" fmla="*/ 18 h 1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2" h="18">
                <a:moveTo>
                  <a:pt x="0" y="9"/>
                </a:moveTo>
                <a:lnTo>
                  <a:pt x="4" y="14"/>
                </a:lnTo>
                <a:lnTo>
                  <a:pt x="13" y="18"/>
                </a:lnTo>
                <a:lnTo>
                  <a:pt x="13" y="9"/>
                </a:lnTo>
                <a:lnTo>
                  <a:pt x="18" y="14"/>
                </a:lnTo>
                <a:lnTo>
                  <a:pt x="22" y="0"/>
                </a:lnTo>
                <a:lnTo>
                  <a:pt x="18" y="5"/>
                </a:lnTo>
                <a:lnTo>
                  <a:pt x="18" y="0"/>
                </a:lnTo>
                <a:lnTo>
                  <a:pt x="0" y="9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5" name="Freeform 146"/>
          <p:cNvSpPr>
            <a:spLocks/>
          </p:cNvSpPr>
          <p:nvPr/>
        </p:nvSpPr>
        <p:spPr bwMode="gray">
          <a:xfrm>
            <a:off x="3235332" y="4565670"/>
            <a:ext cx="171120" cy="348333"/>
          </a:xfrm>
          <a:custGeom>
            <a:avLst/>
            <a:gdLst>
              <a:gd name="T0" fmla="*/ 0 w 125"/>
              <a:gd name="T1" fmla="*/ 125 h 286"/>
              <a:gd name="T2" fmla="*/ 9 w 125"/>
              <a:gd name="T3" fmla="*/ 121 h 286"/>
              <a:gd name="T4" fmla="*/ 4 w 125"/>
              <a:gd name="T5" fmla="*/ 112 h 286"/>
              <a:gd name="T6" fmla="*/ 9 w 125"/>
              <a:gd name="T7" fmla="*/ 108 h 286"/>
              <a:gd name="T8" fmla="*/ 9 w 125"/>
              <a:gd name="T9" fmla="*/ 94 h 286"/>
              <a:gd name="T10" fmla="*/ 13 w 125"/>
              <a:gd name="T11" fmla="*/ 94 h 286"/>
              <a:gd name="T12" fmla="*/ 13 w 125"/>
              <a:gd name="T13" fmla="*/ 72 h 286"/>
              <a:gd name="T14" fmla="*/ 22 w 125"/>
              <a:gd name="T15" fmla="*/ 67 h 286"/>
              <a:gd name="T16" fmla="*/ 31 w 125"/>
              <a:gd name="T17" fmla="*/ 54 h 286"/>
              <a:gd name="T18" fmla="*/ 31 w 125"/>
              <a:gd name="T19" fmla="*/ 45 h 286"/>
              <a:gd name="T20" fmla="*/ 44 w 125"/>
              <a:gd name="T21" fmla="*/ 23 h 286"/>
              <a:gd name="T22" fmla="*/ 58 w 125"/>
              <a:gd name="T23" fmla="*/ 18 h 286"/>
              <a:gd name="T24" fmla="*/ 62 w 125"/>
              <a:gd name="T25" fmla="*/ 18 h 286"/>
              <a:gd name="T26" fmla="*/ 62 w 125"/>
              <a:gd name="T27" fmla="*/ 9 h 286"/>
              <a:gd name="T28" fmla="*/ 76 w 125"/>
              <a:gd name="T29" fmla="*/ 0 h 286"/>
              <a:gd name="T30" fmla="*/ 85 w 125"/>
              <a:gd name="T31" fmla="*/ 9 h 286"/>
              <a:gd name="T32" fmla="*/ 85 w 125"/>
              <a:gd name="T33" fmla="*/ 40 h 286"/>
              <a:gd name="T34" fmla="*/ 71 w 125"/>
              <a:gd name="T35" fmla="*/ 54 h 286"/>
              <a:gd name="T36" fmla="*/ 76 w 125"/>
              <a:gd name="T37" fmla="*/ 76 h 286"/>
              <a:gd name="T38" fmla="*/ 89 w 125"/>
              <a:gd name="T39" fmla="*/ 67 h 286"/>
              <a:gd name="T40" fmla="*/ 89 w 125"/>
              <a:gd name="T41" fmla="*/ 81 h 286"/>
              <a:gd name="T42" fmla="*/ 102 w 125"/>
              <a:gd name="T43" fmla="*/ 90 h 286"/>
              <a:gd name="T44" fmla="*/ 89 w 125"/>
              <a:gd name="T45" fmla="*/ 103 h 286"/>
              <a:gd name="T46" fmla="*/ 111 w 125"/>
              <a:gd name="T47" fmla="*/ 112 h 286"/>
              <a:gd name="T48" fmla="*/ 120 w 125"/>
              <a:gd name="T49" fmla="*/ 108 h 286"/>
              <a:gd name="T50" fmla="*/ 125 w 125"/>
              <a:gd name="T51" fmla="*/ 108 h 286"/>
              <a:gd name="T52" fmla="*/ 125 w 125"/>
              <a:gd name="T53" fmla="*/ 112 h 286"/>
              <a:gd name="T54" fmla="*/ 120 w 125"/>
              <a:gd name="T55" fmla="*/ 116 h 286"/>
              <a:gd name="T56" fmla="*/ 111 w 125"/>
              <a:gd name="T57" fmla="*/ 130 h 286"/>
              <a:gd name="T58" fmla="*/ 102 w 125"/>
              <a:gd name="T59" fmla="*/ 130 h 286"/>
              <a:gd name="T60" fmla="*/ 89 w 125"/>
              <a:gd name="T61" fmla="*/ 139 h 286"/>
              <a:gd name="T62" fmla="*/ 80 w 125"/>
              <a:gd name="T63" fmla="*/ 143 h 286"/>
              <a:gd name="T64" fmla="*/ 71 w 125"/>
              <a:gd name="T65" fmla="*/ 161 h 286"/>
              <a:gd name="T66" fmla="*/ 76 w 125"/>
              <a:gd name="T67" fmla="*/ 166 h 286"/>
              <a:gd name="T68" fmla="*/ 76 w 125"/>
              <a:gd name="T69" fmla="*/ 179 h 286"/>
              <a:gd name="T70" fmla="*/ 85 w 125"/>
              <a:gd name="T71" fmla="*/ 188 h 286"/>
              <a:gd name="T72" fmla="*/ 89 w 125"/>
              <a:gd name="T73" fmla="*/ 201 h 286"/>
              <a:gd name="T74" fmla="*/ 80 w 125"/>
              <a:gd name="T75" fmla="*/ 210 h 286"/>
              <a:gd name="T76" fmla="*/ 85 w 125"/>
              <a:gd name="T77" fmla="*/ 215 h 286"/>
              <a:gd name="T78" fmla="*/ 102 w 125"/>
              <a:gd name="T79" fmla="*/ 233 h 286"/>
              <a:gd name="T80" fmla="*/ 98 w 125"/>
              <a:gd name="T81" fmla="*/ 251 h 286"/>
              <a:gd name="T82" fmla="*/ 102 w 125"/>
              <a:gd name="T83" fmla="*/ 264 h 286"/>
              <a:gd name="T84" fmla="*/ 98 w 125"/>
              <a:gd name="T85" fmla="*/ 273 h 286"/>
              <a:gd name="T86" fmla="*/ 94 w 125"/>
              <a:gd name="T87" fmla="*/ 277 h 286"/>
              <a:gd name="T88" fmla="*/ 89 w 125"/>
              <a:gd name="T89" fmla="*/ 286 h 286"/>
              <a:gd name="T90" fmla="*/ 85 w 125"/>
              <a:gd name="T91" fmla="*/ 282 h 286"/>
              <a:gd name="T92" fmla="*/ 94 w 125"/>
              <a:gd name="T93" fmla="*/ 264 h 286"/>
              <a:gd name="T94" fmla="*/ 89 w 125"/>
              <a:gd name="T95" fmla="*/ 255 h 286"/>
              <a:gd name="T96" fmla="*/ 89 w 125"/>
              <a:gd name="T97" fmla="*/ 242 h 286"/>
              <a:gd name="T98" fmla="*/ 80 w 125"/>
              <a:gd name="T99" fmla="*/ 228 h 286"/>
              <a:gd name="T100" fmla="*/ 76 w 125"/>
              <a:gd name="T101" fmla="*/ 215 h 286"/>
              <a:gd name="T102" fmla="*/ 76 w 125"/>
              <a:gd name="T103" fmla="*/ 197 h 286"/>
              <a:gd name="T104" fmla="*/ 62 w 125"/>
              <a:gd name="T105" fmla="*/ 183 h 286"/>
              <a:gd name="T106" fmla="*/ 53 w 125"/>
              <a:gd name="T107" fmla="*/ 188 h 286"/>
              <a:gd name="T108" fmla="*/ 44 w 125"/>
              <a:gd name="T109" fmla="*/ 201 h 286"/>
              <a:gd name="T110" fmla="*/ 22 w 125"/>
              <a:gd name="T111" fmla="*/ 197 h 286"/>
              <a:gd name="T112" fmla="*/ 27 w 125"/>
              <a:gd name="T113" fmla="*/ 183 h 286"/>
              <a:gd name="T114" fmla="*/ 31 w 125"/>
              <a:gd name="T115" fmla="*/ 175 h 286"/>
              <a:gd name="T116" fmla="*/ 22 w 125"/>
              <a:gd name="T117" fmla="*/ 139 h 286"/>
              <a:gd name="T118" fmla="*/ 13 w 125"/>
              <a:gd name="T119" fmla="*/ 134 h 286"/>
              <a:gd name="T120" fmla="*/ 9 w 125"/>
              <a:gd name="T121" fmla="*/ 139 h 286"/>
              <a:gd name="T122" fmla="*/ 0 w 125"/>
              <a:gd name="T123" fmla="*/ 125 h 28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25"/>
              <a:gd name="T187" fmla="*/ 0 h 286"/>
              <a:gd name="T188" fmla="*/ 125 w 125"/>
              <a:gd name="T189" fmla="*/ 286 h 28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25" h="286">
                <a:moveTo>
                  <a:pt x="0" y="125"/>
                </a:moveTo>
                <a:lnTo>
                  <a:pt x="9" y="121"/>
                </a:lnTo>
                <a:lnTo>
                  <a:pt x="4" y="112"/>
                </a:lnTo>
                <a:lnTo>
                  <a:pt x="9" y="108"/>
                </a:lnTo>
                <a:lnTo>
                  <a:pt x="9" y="94"/>
                </a:lnTo>
                <a:lnTo>
                  <a:pt x="13" y="94"/>
                </a:lnTo>
                <a:lnTo>
                  <a:pt x="13" y="72"/>
                </a:lnTo>
                <a:lnTo>
                  <a:pt x="22" y="67"/>
                </a:lnTo>
                <a:lnTo>
                  <a:pt x="31" y="54"/>
                </a:lnTo>
                <a:lnTo>
                  <a:pt x="31" y="45"/>
                </a:lnTo>
                <a:lnTo>
                  <a:pt x="44" y="23"/>
                </a:lnTo>
                <a:lnTo>
                  <a:pt x="58" y="18"/>
                </a:lnTo>
                <a:lnTo>
                  <a:pt x="62" y="18"/>
                </a:lnTo>
                <a:lnTo>
                  <a:pt x="62" y="9"/>
                </a:lnTo>
                <a:lnTo>
                  <a:pt x="76" y="0"/>
                </a:lnTo>
                <a:lnTo>
                  <a:pt x="85" y="9"/>
                </a:lnTo>
                <a:lnTo>
                  <a:pt x="85" y="40"/>
                </a:lnTo>
                <a:lnTo>
                  <a:pt x="71" y="54"/>
                </a:lnTo>
                <a:lnTo>
                  <a:pt x="76" y="76"/>
                </a:lnTo>
                <a:lnTo>
                  <a:pt x="89" y="67"/>
                </a:lnTo>
                <a:lnTo>
                  <a:pt x="89" y="81"/>
                </a:lnTo>
                <a:lnTo>
                  <a:pt x="102" y="90"/>
                </a:lnTo>
                <a:lnTo>
                  <a:pt x="89" y="103"/>
                </a:lnTo>
                <a:lnTo>
                  <a:pt x="111" y="112"/>
                </a:lnTo>
                <a:lnTo>
                  <a:pt x="120" y="108"/>
                </a:lnTo>
                <a:lnTo>
                  <a:pt x="125" y="108"/>
                </a:lnTo>
                <a:lnTo>
                  <a:pt x="125" y="112"/>
                </a:lnTo>
                <a:lnTo>
                  <a:pt x="120" y="116"/>
                </a:lnTo>
                <a:lnTo>
                  <a:pt x="111" y="130"/>
                </a:lnTo>
                <a:lnTo>
                  <a:pt x="102" y="130"/>
                </a:lnTo>
                <a:lnTo>
                  <a:pt x="89" y="139"/>
                </a:lnTo>
                <a:lnTo>
                  <a:pt x="80" y="143"/>
                </a:lnTo>
                <a:lnTo>
                  <a:pt x="71" y="161"/>
                </a:lnTo>
                <a:lnTo>
                  <a:pt x="76" y="166"/>
                </a:lnTo>
                <a:lnTo>
                  <a:pt x="76" y="179"/>
                </a:lnTo>
                <a:lnTo>
                  <a:pt x="85" y="188"/>
                </a:lnTo>
                <a:lnTo>
                  <a:pt x="89" y="201"/>
                </a:lnTo>
                <a:lnTo>
                  <a:pt x="80" y="210"/>
                </a:lnTo>
                <a:lnTo>
                  <a:pt x="85" y="215"/>
                </a:lnTo>
                <a:lnTo>
                  <a:pt x="102" y="233"/>
                </a:lnTo>
                <a:lnTo>
                  <a:pt x="98" y="251"/>
                </a:lnTo>
                <a:lnTo>
                  <a:pt x="102" y="264"/>
                </a:lnTo>
                <a:lnTo>
                  <a:pt x="98" y="273"/>
                </a:lnTo>
                <a:lnTo>
                  <a:pt x="94" y="277"/>
                </a:lnTo>
                <a:lnTo>
                  <a:pt x="89" y="286"/>
                </a:lnTo>
                <a:lnTo>
                  <a:pt x="85" y="282"/>
                </a:lnTo>
                <a:lnTo>
                  <a:pt x="94" y="264"/>
                </a:lnTo>
                <a:lnTo>
                  <a:pt x="89" y="255"/>
                </a:lnTo>
                <a:lnTo>
                  <a:pt x="89" y="242"/>
                </a:lnTo>
                <a:lnTo>
                  <a:pt x="80" y="228"/>
                </a:lnTo>
                <a:lnTo>
                  <a:pt x="76" y="215"/>
                </a:lnTo>
                <a:lnTo>
                  <a:pt x="76" y="197"/>
                </a:lnTo>
                <a:lnTo>
                  <a:pt x="62" y="183"/>
                </a:lnTo>
                <a:lnTo>
                  <a:pt x="53" y="188"/>
                </a:lnTo>
                <a:lnTo>
                  <a:pt x="44" y="201"/>
                </a:lnTo>
                <a:lnTo>
                  <a:pt x="22" y="197"/>
                </a:lnTo>
                <a:lnTo>
                  <a:pt x="27" y="183"/>
                </a:lnTo>
                <a:lnTo>
                  <a:pt x="31" y="175"/>
                </a:lnTo>
                <a:lnTo>
                  <a:pt x="22" y="139"/>
                </a:lnTo>
                <a:lnTo>
                  <a:pt x="13" y="134"/>
                </a:lnTo>
                <a:lnTo>
                  <a:pt x="9" y="139"/>
                </a:lnTo>
                <a:lnTo>
                  <a:pt x="0" y="1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6" name="Freeform 147"/>
          <p:cNvSpPr>
            <a:spLocks/>
          </p:cNvSpPr>
          <p:nvPr/>
        </p:nvSpPr>
        <p:spPr bwMode="gray">
          <a:xfrm>
            <a:off x="3431093" y="4827529"/>
            <a:ext cx="97196" cy="86474"/>
          </a:xfrm>
          <a:custGeom>
            <a:avLst/>
            <a:gdLst>
              <a:gd name="T0" fmla="*/ 9 w 71"/>
              <a:gd name="T1" fmla="*/ 49 h 71"/>
              <a:gd name="T2" fmla="*/ 9 w 71"/>
              <a:gd name="T3" fmla="*/ 62 h 71"/>
              <a:gd name="T4" fmla="*/ 18 w 71"/>
              <a:gd name="T5" fmla="*/ 58 h 71"/>
              <a:gd name="T6" fmla="*/ 18 w 71"/>
              <a:gd name="T7" fmla="*/ 62 h 71"/>
              <a:gd name="T8" fmla="*/ 13 w 71"/>
              <a:gd name="T9" fmla="*/ 67 h 71"/>
              <a:gd name="T10" fmla="*/ 18 w 71"/>
              <a:gd name="T11" fmla="*/ 71 h 71"/>
              <a:gd name="T12" fmla="*/ 22 w 71"/>
              <a:gd name="T13" fmla="*/ 67 h 71"/>
              <a:gd name="T14" fmla="*/ 31 w 71"/>
              <a:gd name="T15" fmla="*/ 67 h 71"/>
              <a:gd name="T16" fmla="*/ 40 w 71"/>
              <a:gd name="T17" fmla="*/ 53 h 71"/>
              <a:gd name="T18" fmla="*/ 53 w 71"/>
              <a:gd name="T19" fmla="*/ 53 h 71"/>
              <a:gd name="T20" fmla="*/ 53 w 71"/>
              <a:gd name="T21" fmla="*/ 44 h 71"/>
              <a:gd name="T22" fmla="*/ 62 w 71"/>
              <a:gd name="T23" fmla="*/ 44 h 71"/>
              <a:gd name="T24" fmla="*/ 71 w 71"/>
              <a:gd name="T25" fmla="*/ 36 h 71"/>
              <a:gd name="T26" fmla="*/ 71 w 71"/>
              <a:gd name="T27" fmla="*/ 9 h 71"/>
              <a:gd name="T28" fmla="*/ 67 w 71"/>
              <a:gd name="T29" fmla="*/ 4 h 71"/>
              <a:gd name="T30" fmla="*/ 58 w 71"/>
              <a:gd name="T31" fmla="*/ 0 h 71"/>
              <a:gd name="T32" fmla="*/ 53 w 71"/>
              <a:gd name="T33" fmla="*/ 0 h 71"/>
              <a:gd name="T34" fmla="*/ 49 w 71"/>
              <a:gd name="T35" fmla="*/ 9 h 71"/>
              <a:gd name="T36" fmla="*/ 40 w 71"/>
              <a:gd name="T37" fmla="*/ 9 h 71"/>
              <a:gd name="T38" fmla="*/ 35 w 71"/>
              <a:gd name="T39" fmla="*/ 4 h 71"/>
              <a:gd name="T40" fmla="*/ 9 w 71"/>
              <a:gd name="T41" fmla="*/ 9 h 71"/>
              <a:gd name="T42" fmla="*/ 0 w 71"/>
              <a:gd name="T43" fmla="*/ 22 h 71"/>
              <a:gd name="T44" fmla="*/ 9 w 71"/>
              <a:gd name="T45" fmla="*/ 40 h 71"/>
              <a:gd name="T46" fmla="*/ 9 w 71"/>
              <a:gd name="T47" fmla="*/ 49 h 7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71"/>
              <a:gd name="T73" fmla="*/ 0 h 71"/>
              <a:gd name="T74" fmla="*/ 71 w 71"/>
              <a:gd name="T75" fmla="*/ 71 h 7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71" h="71">
                <a:moveTo>
                  <a:pt x="9" y="49"/>
                </a:moveTo>
                <a:lnTo>
                  <a:pt x="9" y="62"/>
                </a:lnTo>
                <a:lnTo>
                  <a:pt x="18" y="58"/>
                </a:lnTo>
                <a:lnTo>
                  <a:pt x="18" y="62"/>
                </a:lnTo>
                <a:lnTo>
                  <a:pt x="13" y="67"/>
                </a:lnTo>
                <a:lnTo>
                  <a:pt x="18" y="71"/>
                </a:lnTo>
                <a:lnTo>
                  <a:pt x="22" y="67"/>
                </a:lnTo>
                <a:lnTo>
                  <a:pt x="31" y="67"/>
                </a:lnTo>
                <a:lnTo>
                  <a:pt x="40" y="53"/>
                </a:lnTo>
                <a:lnTo>
                  <a:pt x="53" y="53"/>
                </a:lnTo>
                <a:lnTo>
                  <a:pt x="53" y="44"/>
                </a:lnTo>
                <a:lnTo>
                  <a:pt x="62" y="44"/>
                </a:lnTo>
                <a:lnTo>
                  <a:pt x="71" y="36"/>
                </a:lnTo>
                <a:lnTo>
                  <a:pt x="71" y="9"/>
                </a:lnTo>
                <a:lnTo>
                  <a:pt x="67" y="4"/>
                </a:lnTo>
                <a:lnTo>
                  <a:pt x="58" y="0"/>
                </a:lnTo>
                <a:lnTo>
                  <a:pt x="53" y="0"/>
                </a:lnTo>
                <a:lnTo>
                  <a:pt x="49" y="9"/>
                </a:lnTo>
                <a:lnTo>
                  <a:pt x="40" y="9"/>
                </a:lnTo>
                <a:lnTo>
                  <a:pt x="35" y="4"/>
                </a:lnTo>
                <a:lnTo>
                  <a:pt x="9" y="9"/>
                </a:lnTo>
                <a:lnTo>
                  <a:pt x="0" y="22"/>
                </a:lnTo>
                <a:lnTo>
                  <a:pt x="9" y="40"/>
                </a:lnTo>
                <a:lnTo>
                  <a:pt x="9" y="49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7" name="Freeform 148"/>
          <p:cNvSpPr>
            <a:spLocks/>
          </p:cNvSpPr>
          <p:nvPr/>
        </p:nvSpPr>
        <p:spPr bwMode="gray">
          <a:xfrm>
            <a:off x="2984812" y="4920093"/>
            <a:ext cx="47914" cy="64551"/>
          </a:xfrm>
          <a:custGeom>
            <a:avLst/>
            <a:gdLst>
              <a:gd name="T0" fmla="*/ 0 w 35"/>
              <a:gd name="T1" fmla="*/ 40 h 53"/>
              <a:gd name="T2" fmla="*/ 9 w 35"/>
              <a:gd name="T3" fmla="*/ 53 h 53"/>
              <a:gd name="T4" fmla="*/ 22 w 35"/>
              <a:gd name="T5" fmla="*/ 53 h 53"/>
              <a:gd name="T6" fmla="*/ 35 w 35"/>
              <a:gd name="T7" fmla="*/ 44 h 53"/>
              <a:gd name="T8" fmla="*/ 35 w 35"/>
              <a:gd name="T9" fmla="*/ 31 h 53"/>
              <a:gd name="T10" fmla="*/ 22 w 35"/>
              <a:gd name="T11" fmla="*/ 4 h 53"/>
              <a:gd name="T12" fmla="*/ 9 w 35"/>
              <a:gd name="T13" fmla="*/ 0 h 53"/>
              <a:gd name="T14" fmla="*/ 4 w 35"/>
              <a:gd name="T15" fmla="*/ 4 h 53"/>
              <a:gd name="T16" fmla="*/ 9 w 35"/>
              <a:gd name="T17" fmla="*/ 9 h 53"/>
              <a:gd name="T18" fmla="*/ 4 w 35"/>
              <a:gd name="T19" fmla="*/ 13 h 53"/>
              <a:gd name="T20" fmla="*/ 4 w 35"/>
              <a:gd name="T21" fmla="*/ 22 h 53"/>
              <a:gd name="T22" fmla="*/ 0 w 35"/>
              <a:gd name="T23" fmla="*/ 22 h 53"/>
              <a:gd name="T24" fmla="*/ 4 w 35"/>
              <a:gd name="T25" fmla="*/ 35 h 53"/>
              <a:gd name="T26" fmla="*/ 0 w 35"/>
              <a:gd name="T27" fmla="*/ 40 h 53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5"/>
              <a:gd name="T43" fmla="*/ 0 h 53"/>
              <a:gd name="T44" fmla="*/ 35 w 35"/>
              <a:gd name="T45" fmla="*/ 53 h 53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5" h="53">
                <a:moveTo>
                  <a:pt x="0" y="40"/>
                </a:moveTo>
                <a:lnTo>
                  <a:pt x="9" y="53"/>
                </a:lnTo>
                <a:lnTo>
                  <a:pt x="22" y="53"/>
                </a:lnTo>
                <a:lnTo>
                  <a:pt x="35" y="44"/>
                </a:lnTo>
                <a:lnTo>
                  <a:pt x="35" y="31"/>
                </a:lnTo>
                <a:lnTo>
                  <a:pt x="22" y="4"/>
                </a:lnTo>
                <a:lnTo>
                  <a:pt x="9" y="0"/>
                </a:lnTo>
                <a:lnTo>
                  <a:pt x="4" y="4"/>
                </a:lnTo>
                <a:lnTo>
                  <a:pt x="9" y="9"/>
                </a:lnTo>
                <a:lnTo>
                  <a:pt x="4" y="13"/>
                </a:lnTo>
                <a:lnTo>
                  <a:pt x="4" y="22"/>
                </a:lnTo>
                <a:lnTo>
                  <a:pt x="0" y="22"/>
                </a:lnTo>
                <a:lnTo>
                  <a:pt x="4" y="35"/>
                </a:lnTo>
                <a:lnTo>
                  <a:pt x="0" y="4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8" name="Freeform 149"/>
          <p:cNvSpPr>
            <a:spLocks noEditPoints="1"/>
          </p:cNvSpPr>
          <p:nvPr/>
        </p:nvSpPr>
        <p:spPr bwMode="gray">
          <a:xfrm>
            <a:off x="2868451" y="3956697"/>
            <a:ext cx="1197840" cy="805062"/>
          </a:xfrm>
          <a:custGeom>
            <a:avLst/>
            <a:gdLst>
              <a:gd name="T0" fmla="*/ 18 w 875"/>
              <a:gd name="T1" fmla="*/ 339 h 661"/>
              <a:gd name="T2" fmla="*/ 13 w 875"/>
              <a:gd name="T3" fmla="*/ 353 h 661"/>
              <a:gd name="T4" fmla="*/ 71 w 875"/>
              <a:gd name="T5" fmla="*/ 366 h 661"/>
              <a:gd name="T6" fmla="*/ 71 w 875"/>
              <a:gd name="T7" fmla="*/ 433 h 661"/>
              <a:gd name="T8" fmla="*/ 120 w 875"/>
              <a:gd name="T9" fmla="*/ 473 h 661"/>
              <a:gd name="T10" fmla="*/ 210 w 875"/>
              <a:gd name="T11" fmla="*/ 514 h 661"/>
              <a:gd name="T12" fmla="*/ 219 w 875"/>
              <a:gd name="T13" fmla="*/ 527 h 661"/>
              <a:gd name="T14" fmla="*/ 259 w 875"/>
              <a:gd name="T15" fmla="*/ 509 h 661"/>
              <a:gd name="T16" fmla="*/ 303 w 875"/>
              <a:gd name="T17" fmla="*/ 500 h 661"/>
              <a:gd name="T18" fmla="*/ 344 w 875"/>
              <a:gd name="T19" fmla="*/ 500 h 661"/>
              <a:gd name="T20" fmla="*/ 344 w 875"/>
              <a:gd name="T21" fmla="*/ 576 h 661"/>
              <a:gd name="T22" fmla="*/ 357 w 875"/>
              <a:gd name="T23" fmla="*/ 603 h 661"/>
              <a:gd name="T24" fmla="*/ 393 w 875"/>
              <a:gd name="T25" fmla="*/ 612 h 661"/>
              <a:gd name="T26" fmla="*/ 406 w 875"/>
              <a:gd name="T27" fmla="*/ 599 h 661"/>
              <a:gd name="T28" fmla="*/ 455 w 875"/>
              <a:gd name="T29" fmla="*/ 585 h 661"/>
              <a:gd name="T30" fmla="*/ 487 w 875"/>
              <a:gd name="T31" fmla="*/ 608 h 661"/>
              <a:gd name="T32" fmla="*/ 513 w 875"/>
              <a:gd name="T33" fmla="*/ 621 h 661"/>
              <a:gd name="T34" fmla="*/ 522 w 875"/>
              <a:gd name="T35" fmla="*/ 612 h 661"/>
              <a:gd name="T36" fmla="*/ 567 w 875"/>
              <a:gd name="T37" fmla="*/ 594 h 661"/>
              <a:gd name="T38" fmla="*/ 589 w 875"/>
              <a:gd name="T39" fmla="*/ 585 h 661"/>
              <a:gd name="T40" fmla="*/ 612 w 875"/>
              <a:gd name="T41" fmla="*/ 585 h 661"/>
              <a:gd name="T42" fmla="*/ 638 w 875"/>
              <a:gd name="T43" fmla="*/ 567 h 661"/>
              <a:gd name="T44" fmla="*/ 665 w 875"/>
              <a:gd name="T45" fmla="*/ 532 h 661"/>
              <a:gd name="T46" fmla="*/ 683 w 875"/>
              <a:gd name="T47" fmla="*/ 482 h 661"/>
              <a:gd name="T48" fmla="*/ 688 w 875"/>
              <a:gd name="T49" fmla="*/ 451 h 661"/>
              <a:gd name="T50" fmla="*/ 674 w 875"/>
              <a:gd name="T51" fmla="*/ 424 h 661"/>
              <a:gd name="T52" fmla="*/ 656 w 875"/>
              <a:gd name="T53" fmla="*/ 375 h 661"/>
              <a:gd name="T54" fmla="*/ 701 w 875"/>
              <a:gd name="T55" fmla="*/ 344 h 661"/>
              <a:gd name="T56" fmla="*/ 643 w 875"/>
              <a:gd name="T57" fmla="*/ 339 h 661"/>
              <a:gd name="T58" fmla="*/ 656 w 875"/>
              <a:gd name="T59" fmla="*/ 299 h 661"/>
              <a:gd name="T60" fmla="*/ 692 w 875"/>
              <a:gd name="T61" fmla="*/ 286 h 661"/>
              <a:gd name="T62" fmla="*/ 674 w 875"/>
              <a:gd name="T63" fmla="*/ 317 h 661"/>
              <a:gd name="T64" fmla="*/ 719 w 875"/>
              <a:gd name="T65" fmla="*/ 295 h 661"/>
              <a:gd name="T66" fmla="*/ 764 w 875"/>
              <a:gd name="T67" fmla="*/ 259 h 661"/>
              <a:gd name="T68" fmla="*/ 804 w 875"/>
              <a:gd name="T69" fmla="*/ 232 h 661"/>
              <a:gd name="T70" fmla="*/ 822 w 875"/>
              <a:gd name="T71" fmla="*/ 223 h 661"/>
              <a:gd name="T72" fmla="*/ 875 w 875"/>
              <a:gd name="T73" fmla="*/ 143 h 661"/>
              <a:gd name="T74" fmla="*/ 817 w 875"/>
              <a:gd name="T75" fmla="*/ 134 h 661"/>
              <a:gd name="T76" fmla="*/ 781 w 875"/>
              <a:gd name="T77" fmla="*/ 98 h 661"/>
              <a:gd name="T78" fmla="*/ 714 w 875"/>
              <a:gd name="T79" fmla="*/ 4 h 661"/>
              <a:gd name="T80" fmla="*/ 661 w 875"/>
              <a:gd name="T81" fmla="*/ 27 h 661"/>
              <a:gd name="T82" fmla="*/ 652 w 875"/>
              <a:gd name="T83" fmla="*/ 85 h 661"/>
              <a:gd name="T84" fmla="*/ 607 w 875"/>
              <a:gd name="T85" fmla="*/ 111 h 661"/>
              <a:gd name="T86" fmla="*/ 621 w 875"/>
              <a:gd name="T87" fmla="*/ 138 h 661"/>
              <a:gd name="T88" fmla="*/ 656 w 875"/>
              <a:gd name="T89" fmla="*/ 156 h 661"/>
              <a:gd name="T90" fmla="*/ 585 w 875"/>
              <a:gd name="T91" fmla="*/ 179 h 661"/>
              <a:gd name="T92" fmla="*/ 545 w 875"/>
              <a:gd name="T93" fmla="*/ 187 h 661"/>
              <a:gd name="T94" fmla="*/ 522 w 875"/>
              <a:gd name="T95" fmla="*/ 241 h 661"/>
              <a:gd name="T96" fmla="*/ 415 w 875"/>
              <a:gd name="T97" fmla="*/ 250 h 661"/>
              <a:gd name="T98" fmla="*/ 286 w 875"/>
              <a:gd name="T99" fmla="*/ 192 h 661"/>
              <a:gd name="T100" fmla="*/ 210 w 875"/>
              <a:gd name="T101" fmla="*/ 120 h 661"/>
              <a:gd name="T102" fmla="*/ 183 w 875"/>
              <a:gd name="T103" fmla="*/ 120 h 661"/>
              <a:gd name="T104" fmla="*/ 134 w 875"/>
              <a:gd name="T105" fmla="*/ 152 h 661"/>
              <a:gd name="T106" fmla="*/ 89 w 875"/>
              <a:gd name="T107" fmla="*/ 201 h 661"/>
              <a:gd name="T108" fmla="*/ 94 w 875"/>
              <a:gd name="T109" fmla="*/ 259 h 661"/>
              <a:gd name="T110" fmla="*/ 35 w 875"/>
              <a:gd name="T111" fmla="*/ 290 h 661"/>
              <a:gd name="T112" fmla="*/ 0 w 875"/>
              <a:gd name="T113" fmla="*/ 295 h 661"/>
              <a:gd name="T114" fmla="*/ 504 w 875"/>
              <a:gd name="T115" fmla="*/ 648 h 661"/>
              <a:gd name="T116" fmla="*/ 531 w 875"/>
              <a:gd name="T117" fmla="*/ 652 h 661"/>
              <a:gd name="T118" fmla="*/ 527 w 875"/>
              <a:gd name="T119" fmla="*/ 634 h 66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875"/>
              <a:gd name="T181" fmla="*/ 0 h 661"/>
              <a:gd name="T182" fmla="*/ 875 w 875"/>
              <a:gd name="T183" fmla="*/ 661 h 66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875" h="661">
                <a:moveTo>
                  <a:pt x="0" y="304"/>
                </a:moveTo>
                <a:lnTo>
                  <a:pt x="0" y="322"/>
                </a:lnTo>
                <a:lnTo>
                  <a:pt x="18" y="326"/>
                </a:lnTo>
                <a:lnTo>
                  <a:pt x="18" y="339"/>
                </a:lnTo>
                <a:lnTo>
                  <a:pt x="22" y="339"/>
                </a:lnTo>
                <a:lnTo>
                  <a:pt x="22" y="344"/>
                </a:lnTo>
                <a:lnTo>
                  <a:pt x="18" y="348"/>
                </a:lnTo>
                <a:lnTo>
                  <a:pt x="13" y="353"/>
                </a:lnTo>
                <a:lnTo>
                  <a:pt x="31" y="353"/>
                </a:lnTo>
                <a:lnTo>
                  <a:pt x="40" y="366"/>
                </a:lnTo>
                <a:lnTo>
                  <a:pt x="53" y="362"/>
                </a:lnTo>
                <a:lnTo>
                  <a:pt x="71" y="366"/>
                </a:lnTo>
                <a:lnTo>
                  <a:pt x="71" y="384"/>
                </a:lnTo>
                <a:lnTo>
                  <a:pt x="80" y="397"/>
                </a:lnTo>
                <a:lnTo>
                  <a:pt x="80" y="411"/>
                </a:lnTo>
                <a:lnTo>
                  <a:pt x="71" y="433"/>
                </a:lnTo>
                <a:lnTo>
                  <a:pt x="80" y="460"/>
                </a:lnTo>
                <a:lnTo>
                  <a:pt x="89" y="456"/>
                </a:lnTo>
                <a:lnTo>
                  <a:pt x="102" y="469"/>
                </a:lnTo>
                <a:lnTo>
                  <a:pt x="120" y="473"/>
                </a:lnTo>
                <a:lnTo>
                  <a:pt x="138" y="491"/>
                </a:lnTo>
                <a:lnTo>
                  <a:pt x="147" y="491"/>
                </a:lnTo>
                <a:lnTo>
                  <a:pt x="169" y="509"/>
                </a:lnTo>
                <a:lnTo>
                  <a:pt x="210" y="514"/>
                </a:lnTo>
                <a:lnTo>
                  <a:pt x="219" y="505"/>
                </a:lnTo>
                <a:lnTo>
                  <a:pt x="219" y="509"/>
                </a:lnTo>
                <a:lnTo>
                  <a:pt x="214" y="518"/>
                </a:lnTo>
                <a:lnTo>
                  <a:pt x="219" y="527"/>
                </a:lnTo>
                <a:lnTo>
                  <a:pt x="232" y="514"/>
                </a:lnTo>
                <a:lnTo>
                  <a:pt x="245" y="505"/>
                </a:lnTo>
                <a:lnTo>
                  <a:pt x="254" y="509"/>
                </a:lnTo>
                <a:lnTo>
                  <a:pt x="259" y="509"/>
                </a:lnTo>
                <a:lnTo>
                  <a:pt x="272" y="505"/>
                </a:lnTo>
                <a:lnTo>
                  <a:pt x="290" y="491"/>
                </a:lnTo>
                <a:lnTo>
                  <a:pt x="303" y="491"/>
                </a:lnTo>
                <a:lnTo>
                  <a:pt x="303" y="500"/>
                </a:lnTo>
                <a:lnTo>
                  <a:pt x="317" y="496"/>
                </a:lnTo>
                <a:lnTo>
                  <a:pt x="330" y="500"/>
                </a:lnTo>
                <a:lnTo>
                  <a:pt x="330" y="509"/>
                </a:lnTo>
                <a:lnTo>
                  <a:pt x="344" y="500"/>
                </a:lnTo>
                <a:lnTo>
                  <a:pt x="353" y="509"/>
                </a:lnTo>
                <a:lnTo>
                  <a:pt x="353" y="540"/>
                </a:lnTo>
                <a:lnTo>
                  <a:pt x="339" y="554"/>
                </a:lnTo>
                <a:lnTo>
                  <a:pt x="344" y="576"/>
                </a:lnTo>
                <a:lnTo>
                  <a:pt x="357" y="567"/>
                </a:lnTo>
                <a:lnTo>
                  <a:pt x="357" y="581"/>
                </a:lnTo>
                <a:lnTo>
                  <a:pt x="370" y="590"/>
                </a:lnTo>
                <a:lnTo>
                  <a:pt x="357" y="603"/>
                </a:lnTo>
                <a:lnTo>
                  <a:pt x="379" y="612"/>
                </a:lnTo>
                <a:lnTo>
                  <a:pt x="388" y="608"/>
                </a:lnTo>
                <a:lnTo>
                  <a:pt x="393" y="608"/>
                </a:lnTo>
                <a:lnTo>
                  <a:pt x="393" y="612"/>
                </a:lnTo>
                <a:lnTo>
                  <a:pt x="393" y="621"/>
                </a:lnTo>
                <a:lnTo>
                  <a:pt x="402" y="621"/>
                </a:lnTo>
                <a:lnTo>
                  <a:pt x="402" y="599"/>
                </a:lnTo>
                <a:lnTo>
                  <a:pt x="406" y="599"/>
                </a:lnTo>
                <a:lnTo>
                  <a:pt x="411" y="594"/>
                </a:lnTo>
                <a:lnTo>
                  <a:pt x="433" y="594"/>
                </a:lnTo>
                <a:lnTo>
                  <a:pt x="442" y="590"/>
                </a:lnTo>
                <a:lnTo>
                  <a:pt x="455" y="585"/>
                </a:lnTo>
                <a:lnTo>
                  <a:pt x="473" y="594"/>
                </a:lnTo>
                <a:lnTo>
                  <a:pt x="469" y="603"/>
                </a:lnTo>
                <a:lnTo>
                  <a:pt x="487" y="603"/>
                </a:lnTo>
                <a:lnTo>
                  <a:pt x="487" y="608"/>
                </a:lnTo>
                <a:lnTo>
                  <a:pt x="496" y="608"/>
                </a:lnTo>
                <a:lnTo>
                  <a:pt x="500" y="612"/>
                </a:lnTo>
                <a:lnTo>
                  <a:pt x="518" y="608"/>
                </a:lnTo>
                <a:lnTo>
                  <a:pt x="513" y="621"/>
                </a:lnTo>
                <a:lnTo>
                  <a:pt x="518" y="630"/>
                </a:lnTo>
                <a:lnTo>
                  <a:pt x="531" y="625"/>
                </a:lnTo>
                <a:lnTo>
                  <a:pt x="522" y="621"/>
                </a:lnTo>
                <a:lnTo>
                  <a:pt x="522" y="612"/>
                </a:lnTo>
                <a:lnTo>
                  <a:pt x="531" y="616"/>
                </a:lnTo>
                <a:lnTo>
                  <a:pt x="545" y="603"/>
                </a:lnTo>
                <a:lnTo>
                  <a:pt x="554" y="608"/>
                </a:lnTo>
                <a:lnTo>
                  <a:pt x="567" y="594"/>
                </a:lnTo>
                <a:lnTo>
                  <a:pt x="571" y="585"/>
                </a:lnTo>
                <a:lnTo>
                  <a:pt x="571" y="599"/>
                </a:lnTo>
                <a:lnTo>
                  <a:pt x="580" y="594"/>
                </a:lnTo>
                <a:lnTo>
                  <a:pt x="589" y="585"/>
                </a:lnTo>
                <a:lnTo>
                  <a:pt x="589" y="590"/>
                </a:lnTo>
                <a:lnTo>
                  <a:pt x="594" y="585"/>
                </a:lnTo>
                <a:lnTo>
                  <a:pt x="603" y="590"/>
                </a:lnTo>
                <a:lnTo>
                  <a:pt x="612" y="585"/>
                </a:lnTo>
                <a:lnTo>
                  <a:pt x="616" y="576"/>
                </a:lnTo>
                <a:lnTo>
                  <a:pt x="625" y="576"/>
                </a:lnTo>
                <a:lnTo>
                  <a:pt x="634" y="563"/>
                </a:lnTo>
                <a:lnTo>
                  <a:pt x="638" y="567"/>
                </a:lnTo>
                <a:lnTo>
                  <a:pt x="643" y="558"/>
                </a:lnTo>
                <a:lnTo>
                  <a:pt x="661" y="545"/>
                </a:lnTo>
                <a:lnTo>
                  <a:pt x="656" y="523"/>
                </a:lnTo>
                <a:lnTo>
                  <a:pt x="665" y="532"/>
                </a:lnTo>
                <a:lnTo>
                  <a:pt x="674" y="518"/>
                </a:lnTo>
                <a:lnTo>
                  <a:pt x="674" y="509"/>
                </a:lnTo>
                <a:lnTo>
                  <a:pt x="683" y="505"/>
                </a:lnTo>
                <a:lnTo>
                  <a:pt x="683" y="482"/>
                </a:lnTo>
                <a:lnTo>
                  <a:pt x="692" y="473"/>
                </a:lnTo>
                <a:lnTo>
                  <a:pt x="665" y="469"/>
                </a:lnTo>
                <a:lnTo>
                  <a:pt x="674" y="465"/>
                </a:lnTo>
                <a:lnTo>
                  <a:pt x="688" y="451"/>
                </a:lnTo>
                <a:lnTo>
                  <a:pt x="670" y="438"/>
                </a:lnTo>
                <a:lnTo>
                  <a:pt x="683" y="442"/>
                </a:lnTo>
                <a:lnTo>
                  <a:pt x="688" y="433"/>
                </a:lnTo>
                <a:lnTo>
                  <a:pt x="674" y="424"/>
                </a:lnTo>
                <a:lnTo>
                  <a:pt x="674" y="406"/>
                </a:lnTo>
                <a:lnTo>
                  <a:pt x="670" y="389"/>
                </a:lnTo>
                <a:lnTo>
                  <a:pt x="652" y="389"/>
                </a:lnTo>
                <a:lnTo>
                  <a:pt x="656" y="375"/>
                </a:lnTo>
                <a:lnTo>
                  <a:pt x="670" y="371"/>
                </a:lnTo>
                <a:lnTo>
                  <a:pt x="674" y="362"/>
                </a:lnTo>
                <a:lnTo>
                  <a:pt x="692" y="357"/>
                </a:lnTo>
                <a:lnTo>
                  <a:pt x="701" y="344"/>
                </a:lnTo>
                <a:lnTo>
                  <a:pt x="670" y="335"/>
                </a:lnTo>
                <a:lnTo>
                  <a:pt x="652" y="348"/>
                </a:lnTo>
                <a:lnTo>
                  <a:pt x="638" y="339"/>
                </a:lnTo>
                <a:lnTo>
                  <a:pt x="643" y="339"/>
                </a:lnTo>
                <a:lnTo>
                  <a:pt x="625" y="322"/>
                </a:lnTo>
                <a:lnTo>
                  <a:pt x="634" y="317"/>
                </a:lnTo>
                <a:lnTo>
                  <a:pt x="652" y="313"/>
                </a:lnTo>
                <a:lnTo>
                  <a:pt x="656" y="299"/>
                </a:lnTo>
                <a:lnTo>
                  <a:pt x="674" y="281"/>
                </a:lnTo>
                <a:lnTo>
                  <a:pt x="674" y="277"/>
                </a:lnTo>
                <a:lnTo>
                  <a:pt x="683" y="277"/>
                </a:lnTo>
                <a:lnTo>
                  <a:pt x="692" y="286"/>
                </a:lnTo>
                <a:lnTo>
                  <a:pt x="683" y="295"/>
                </a:lnTo>
                <a:lnTo>
                  <a:pt x="674" y="304"/>
                </a:lnTo>
                <a:lnTo>
                  <a:pt x="688" y="304"/>
                </a:lnTo>
                <a:lnTo>
                  <a:pt x="674" y="317"/>
                </a:lnTo>
                <a:lnTo>
                  <a:pt x="688" y="317"/>
                </a:lnTo>
                <a:lnTo>
                  <a:pt x="701" y="304"/>
                </a:lnTo>
                <a:lnTo>
                  <a:pt x="719" y="299"/>
                </a:lnTo>
                <a:lnTo>
                  <a:pt x="719" y="295"/>
                </a:lnTo>
                <a:lnTo>
                  <a:pt x="741" y="281"/>
                </a:lnTo>
                <a:lnTo>
                  <a:pt x="746" y="281"/>
                </a:lnTo>
                <a:lnTo>
                  <a:pt x="759" y="263"/>
                </a:lnTo>
                <a:lnTo>
                  <a:pt x="764" y="259"/>
                </a:lnTo>
                <a:lnTo>
                  <a:pt x="781" y="268"/>
                </a:lnTo>
                <a:lnTo>
                  <a:pt x="781" y="254"/>
                </a:lnTo>
                <a:lnTo>
                  <a:pt x="795" y="241"/>
                </a:lnTo>
                <a:lnTo>
                  <a:pt x="804" y="232"/>
                </a:lnTo>
                <a:lnTo>
                  <a:pt x="813" y="246"/>
                </a:lnTo>
                <a:lnTo>
                  <a:pt x="808" y="237"/>
                </a:lnTo>
                <a:lnTo>
                  <a:pt x="817" y="228"/>
                </a:lnTo>
                <a:lnTo>
                  <a:pt x="822" y="223"/>
                </a:lnTo>
                <a:lnTo>
                  <a:pt x="817" y="201"/>
                </a:lnTo>
                <a:lnTo>
                  <a:pt x="826" y="192"/>
                </a:lnTo>
                <a:lnTo>
                  <a:pt x="844" y="192"/>
                </a:lnTo>
                <a:lnTo>
                  <a:pt x="875" y="143"/>
                </a:lnTo>
                <a:lnTo>
                  <a:pt x="871" y="129"/>
                </a:lnTo>
                <a:lnTo>
                  <a:pt x="862" y="125"/>
                </a:lnTo>
                <a:lnTo>
                  <a:pt x="839" y="143"/>
                </a:lnTo>
                <a:lnTo>
                  <a:pt x="817" y="134"/>
                </a:lnTo>
                <a:lnTo>
                  <a:pt x="813" y="116"/>
                </a:lnTo>
                <a:lnTo>
                  <a:pt x="795" y="103"/>
                </a:lnTo>
                <a:lnTo>
                  <a:pt x="786" y="103"/>
                </a:lnTo>
                <a:lnTo>
                  <a:pt x="781" y="98"/>
                </a:lnTo>
                <a:lnTo>
                  <a:pt x="768" y="98"/>
                </a:lnTo>
                <a:lnTo>
                  <a:pt x="764" y="76"/>
                </a:lnTo>
                <a:lnTo>
                  <a:pt x="741" y="18"/>
                </a:lnTo>
                <a:lnTo>
                  <a:pt x="714" y="4"/>
                </a:lnTo>
                <a:lnTo>
                  <a:pt x="701" y="0"/>
                </a:lnTo>
                <a:lnTo>
                  <a:pt x="674" y="4"/>
                </a:lnTo>
                <a:lnTo>
                  <a:pt x="661" y="22"/>
                </a:lnTo>
                <a:lnTo>
                  <a:pt x="661" y="27"/>
                </a:lnTo>
                <a:lnTo>
                  <a:pt x="670" y="27"/>
                </a:lnTo>
                <a:lnTo>
                  <a:pt x="670" y="40"/>
                </a:lnTo>
                <a:lnTo>
                  <a:pt x="643" y="76"/>
                </a:lnTo>
                <a:lnTo>
                  <a:pt x="652" y="85"/>
                </a:lnTo>
                <a:lnTo>
                  <a:pt x="638" y="89"/>
                </a:lnTo>
                <a:lnTo>
                  <a:pt x="625" y="103"/>
                </a:lnTo>
                <a:lnTo>
                  <a:pt x="612" y="94"/>
                </a:lnTo>
                <a:lnTo>
                  <a:pt x="607" y="111"/>
                </a:lnTo>
                <a:lnTo>
                  <a:pt x="594" y="129"/>
                </a:lnTo>
                <a:lnTo>
                  <a:pt x="598" y="138"/>
                </a:lnTo>
                <a:lnTo>
                  <a:pt x="612" y="134"/>
                </a:lnTo>
                <a:lnTo>
                  <a:pt x="621" y="138"/>
                </a:lnTo>
                <a:lnTo>
                  <a:pt x="638" y="129"/>
                </a:lnTo>
                <a:lnTo>
                  <a:pt x="647" y="147"/>
                </a:lnTo>
                <a:lnTo>
                  <a:pt x="661" y="147"/>
                </a:lnTo>
                <a:lnTo>
                  <a:pt x="656" y="156"/>
                </a:lnTo>
                <a:lnTo>
                  <a:pt x="643" y="165"/>
                </a:lnTo>
                <a:lnTo>
                  <a:pt x="621" y="161"/>
                </a:lnTo>
                <a:lnTo>
                  <a:pt x="598" y="183"/>
                </a:lnTo>
                <a:lnTo>
                  <a:pt x="585" y="179"/>
                </a:lnTo>
                <a:lnTo>
                  <a:pt x="571" y="196"/>
                </a:lnTo>
                <a:lnTo>
                  <a:pt x="563" y="196"/>
                </a:lnTo>
                <a:lnTo>
                  <a:pt x="554" y="187"/>
                </a:lnTo>
                <a:lnTo>
                  <a:pt x="545" y="187"/>
                </a:lnTo>
                <a:lnTo>
                  <a:pt x="536" y="201"/>
                </a:lnTo>
                <a:lnTo>
                  <a:pt x="549" y="219"/>
                </a:lnTo>
                <a:lnTo>
                  <a:pt x="531" y="228"/>
                </a:lnTo>
                <a:lnTo>
                  <a:pt x="522" y="241"/>
                </a:lnTo>
                <a:lnTo>
                  <a:pt x="496" y="241"/>
                </a:lnTo>
                <a:lnTo>
                  <a:pt x="464" y="250"/>
                </a:lnTo>
                <a:lnTo>
                  <a:pt x="455" y="263"/>
                </a:lnTo>
                <a:lnTo>
                  <a:pt x="415" y="250"/>
                </a:lnTo>
                <a:lnTo>
                  <a:pt x="406" y="241"/>
                </a:lnTo>
                <a:lnTo>
                  <a:pt x="326" y="237"/>
                </a:lnTo>
                <a:lnTo>
                  <a:pt x="308" y="205"/>
                </a:lnTo>
                <a:lnTo>
                  <a:pt x="286" y="192"/>
                </a:lnTo>
                <a:lnTo>
                  <a:pt x="250" y="187"/>
                </a:lnTo>
                <a:lnTo>
                  <a:pt x="250" y="147"/>
                </a:lnTo>
                <a:lnTo>
                  <a:pt x="228" y="129"/>
                </a:lnTo>
                <a:lnTo>
                  <a:pt x="210" y="120"/>
                </a:lnTo>
                <a:lnTo>
                  <a:pt x="205" y="107"/>
                </a:lnTo>
                <a:lnTo>
                  <a:pt x="196" y="107"/>
                </a:lnTo>
                <a:lnTo>
                  <a:pt x="192" y="107"/>
                </a:lnTo>
                <a:lnTo>
                  <a:pt x="183" y="120"/>
                </a:lnTo>
                <a:lnTo>
                  <a:pt x="174" y="129"/>
                </a:lnTo>
                <a:lnTo>
                  <a:pt x="174" y="147"/>
                </a:lnTo>
                <a:lnTo>
                  <a:pt x="161" y="156"/>
                </a:lnTo>
                <a:lnTo>
                  <a:pt x="134" y="152"/>
                </a:lnTo>
                <a:lnTo>
                  <a:pt x="120" y="183"/>
                </a:lnTo>
                <a:lnTo>
                  <a:pt x="125" y="192"/>
                </a:lnTo>
                <a:lnTo>
                  <a:pt x="89" y="192"/>
                </a:lnTo>
                <a:lnTo>
                  <a:pt x="89" y="201"/>
                </a:lnTo>
                <a:lnTo>
                  <a:pt x="98" y="205"/>
                </a:lnTo>
                <a:lnTo>
                  <a:pt x="102" y="228"/>
                </a:lnTo>
                <a:lnTo>
                  <a:pt x="94" y="254"/>
                </a:lnTo>
                <a:lnTo>
                  <a:pt x="94" y="259"/>
                </a:lnTo>
                <a:lnTo>
                  <a:pt x="80" y="263"/>
                </a:lnTo>
                <a:lnTo>
                  <a:pt x="62" y="277"/>
                </a:lnTo>
                <a:lnTo>
                  <a:pt x="44" y="277"/>
                </a:lnTo>
                <a:lnTo>
                  <a:pt x="35" y="290"/>
                </a:lnTo>
                <a:lnTo>
                  <a:pt x="27" y="281"/>
                </a:lnTo>
                <a:lnTo>
                  <a:pt x="18" y="281"/>
                </a:lnTo>
                <a:lnTo>
                  <a:pt x="13" y="290"/>
                </a:lnTo>
                <a:lnTo>
                  <a:pt x="0" y="295"/>
                </a:lnTo>
                <a:lnTo>
                  <a:pt x="0" y="304"/>
                </a:lnTo>
                <a:close/>
                <a:moveTo>
                  <a:pt x="504" y="639"/>
                </a:moveTo>
                <a:lnTo>
                  <a:pt x="509" y="643"/>
                </a:lnTo>
                <a:lnTo>
                  <a:pt x="504" y="648"/>
                </a:lnTo>
                <a:lnTo>
                  <a:pt x="504" y="657"/>
                </a:lnTo>
                <a:lnTo>
                  <a:pt x="513" y="661"/>
                </a:lnTo>
                <a:lnTo>
                  <a:pt x="518" y="657"/>
                </a:lnTo>
                <a:lnTo>
                  <a:pt x="531" y="652"/>
                </a:lnTo>
                <a:lnTo>
                  <a:pt x="536" y="639"/>
                </a:lnTo>
                <a:lnTo>
                  <a:pt x="531" y="634"/>
                </a:lnTo>
                <a:lnTo>
                  <a:pt x="527" y="634"/>
                </a:lnTo>
                <a:lnTo>
                  <a:pt x="518" y="639"/>
                </a:lnTo>
                <a:lnTo>
                  <a:pt x="513" y="634"/>
                </a:lnTo>
                <a:lnTo>
                  <a:pt x="504" y="639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29" name="Freeform 150"/>
          <p:cNvSpPr>
            <a:spLocks/>
          </p:cNvSpPr>
          <p:nvPr/>
        </p:nvSpPr>
        <p:spPr bwMode="gray">
          <a:xfrm>
            <a:off x="3773333" y="4625350"/>
            <a:ext cx="36962" cy="71859"/>
          </a:xfrm>
          <a:custGeom>
            <a:avLst/>
            <a:gdLst>
              <a:gd name="T0" fmla="*/ 22 w 27"/>
              <a:gd name="T1" fmla="*/ 0 h 59"/>
              <a:gd name="T2" fmla="*/ 13 w 27"/>
              <a:gd name="T3" fmla="*/ 5 h 59"/>
              <a:gd name="T4" fmla="*/ 13 w 27"/>
              <a:gd name="T5" fmla="*/ 14 h 59"/>
              <a:gd name="T6" fmla="*/ 9 w 27"/>
              <a:gd name="T7" fmla="*/ 14 h 59"/>
              <a:gd name="T8" fmla="*/ 0 w 27"/>
              <a:gd name="T9" fmla="*/ 32 h 59"/>
              <a:gd name="T10" fmla="*/ 4 w 27"/>
              <a:gd name="T11" fmla="*/ 45 h 59"/>
              <a:gd name="T12" fmla="*/ 9 w 27"/>
              <a:gd name="T13" fmla="*/ 45 h 59"/>
              <a:gd name="T14" fmla="*/ 13 w 27"/>
              <a:gd name="T15" fmla="*/ 59 h 59"/>
              <a:gd name="T16" fmla="*/ 18 w 27"/>
              <a:gd name="T17" fmla="*/ 59 h 59"/>
              <a:gd name="T18" fmla="*/ 18 w 27"/>
              <a:gd name="T19" fmla="*/ 45 h 59"/>
              <a:gd name="T20" fmla="*/ 22 w 27"/>
              <a:gd name="T21" fmla="*/ 36 h 59"/>
              <a:gd name="T22" fmla="*/ 22 w 27"/>
              <a:gd name="T23" fmla="*/ 18 h 59"/>
              <a:gd name="T24" fmla="*/ 27 w 27"/>
              <a:gd name="T25" fmla="*/ 14 h 59"/>
              <a:gd name="T26" fmla="*/ 27 w 27"/>
              <a:gd name="T27" fmla="*/ 5 h 59"/>
              <a:gd name="T28" fmla="*/ 22 w 27"/>
              <a:gd name="T29" fmla="*/ 0 h 5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59"/>
              <a:gd name="T47" fmla="*/ 27 w 27"/>
              <a:gd name="T48" fmla="*/ 59 h 5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59">
                <a:moveTo>
                  <a:pt x="22" y="0"/>
                </a:moveTo>
                <a:lnTo>
                  <a:pt x="13" y="5"/>
                </a:lnTo>
                <a:lnTo>
                  <a:pt x="13" y="14"/>
                </a:lnTo>
                <a:lnTo>
                  <a:pt x="9" y="14"/>
                </a:lnTo>
                <a:lnTo>
                  <a:pt x="0" y="32"/>
                </a:lnTo>
                <a:lnTo>
                  <a:pt x="4" y="45"/>
                </a:lnTo>
                <a:lnTo>
                  <a:pt x="9" y="45"/>
                </a:lnTo>
                <a:lnTo>
                  <a:pt x="13" y="59"/>
                </a:lnTo>
                <a:lnTo>
                  <a:pt x="18" y="59"/>
                </a:lnTo>
                <a:lnTo>
                  <a:pt x="18" y="45"/>
                </a:lnTo>
                <a:lnTo>
                  <a:pt x="22" y="36"/>
                </a:lnTo>
                <a:lnTo>
                  <a:pt x="22" y="18"/>
                </a:lnTo>
                <a:lnTo>
                  <a:pt x="27" y="14"/>
                </a:lnTo>
                <a:lnTo>
                  <a:pt x="27" y="5"/>
                </a:lnTo>
                <a:lnTo>
                  <a:pt x="22" y="0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0" name="Freeform 151"/>
          <p:cNvSpPr>
            <a:spLocks/>
          </p:cNvSpPr>
          <p:nvPr/>
        </p:nvSpPr>
        <p:spPr bwMode="gray">
          <a:xfrm>
            <a:off x="2207243" y="4234389"/>
            <a:ext cx="141003" cy="59679"/>
          </a:xfrm>
          <a:custGeom>
            <a:avLst/>
            <a:gdLst>
              <a:gd name="T0" fmla="*/ 0 w 103"/>
              <a:gd name="T1" fmla="*/ 0 h 49"/>
              <a:gd name="T2" fmla="*/ 18 w 103"/>
              <a:gd name="T3" fmla="*/ 9 h 49"/>
              <a:gd name="T4" fmla="*/ 23 w 103"/>
              <a:gd name="T5" fmla="*/ 18 h 49"/>
              <a:gd name="T6" fmla="*/ 23 w 103"/>
              <a:gd name="T7" fmla="*/ 31 h 49"/>
              <a:gd name="T8" fmla="*/ 18 w 103"/>
              <a:gd name="T9" fmla="*/ 35 h 49"/>
              <a:gd name="T10" fmla="*/ 40 w 103"/>
              <a:gd name="T11" fmla="*/ 40 h 49"/>
              <a:gd name="T12" fmla="*/ 49 w 103"/>
              <a:gd name="T13" fmla="*/ 44 h 49"/>
              <a:gd name="T14" fmla="*/ 58 w 103"/>
              <a:gd name="T15" fmla="*/ 49 h 49"/>
              <a:gd name="T16" fmla="*/ 63 w 103"/>
              <a:gd name="T17" fmla="*/ 44 h 49"/>
              <a:gd name="T18" fmla="*/ 72 w 103"/>
              <a:gd name="T19" fmla="*/ 49 h 49"/>
              <a:gd name="T20" fmla="*/ 76 w 103"/>
              <a:gd name="T21" fmla="*/ 44 h 49"/>
              <a:gd name="T22" fmla="*/ 85 w 103"/>
              <a:gd name="T23" fmla="*/ 49 h 49"/>
              <a:gd name="T24" fmla="*/ 94 w 103"/>
              <a:gd name="T25" fmla="*/ 44 h 49"/>
              <a:gd name="T26" fmla="*/ 99 w 103"/>
              <a:gd name="T27" fmla="*/ 49 h 49"/>
              <a:gd name="T28" fmla="*/ 103 w 103"/>
              <a:gd name="T29" fmla="*/ 44 h 49"/>
              <a:gd name="T30" fmla="*/ 94 w 103"/>
              <a:gd name="T31" fmla="*/ 40 h 49"/>
              <a:gd name="T32" fmla="*/ 90 w 103"/>
              <a:gd name="T33" fmla="*/ 35 h 49"/>
              <a:gd name="T34" fmla="*/ 94 w 103"/>
              <a:gd name="T35" fmla="*/ 26 h 49"/>
              <a:gd name="T36" fmla="*/ 94 w 103"/>
              <a:gd name="T37" fmla="*/ 26 h 49"/>
              <a:gd name="T38" fmla="*/ 85 w 103"/>
              <a:gd name="T39" fmla="*/ 22 h 49"/>
              <a:gd name="T40" fmla="*/ 90 w 103"/>
              <a:gd name="T41" fmla="*/ 18 h 49"/>
              <a:gd name="T42" fmla="*/ 76 w 103"/>
              <a:gd name="T43" fmla="*/ 18 h 49"/>
              <a:gd name="T44" fmla="*/ 76 w 103"/>
              <a:gd name="T45" fmla="*/ 13 h 49"/>
              <a:gd name="T46" fmla="*/ 67 w 103"/>
              <a:gd name="T47" fmla="*/ 13 h 49"/>
              <a:gd name="T48" fmla="*/ 67 w 103"/>
              <a:gd name="T49" fmla="*/ 18 h 49"/>
              <a:gd name="T50" fmla="*/ 63 w 103"/>
              <a:gd name="T51" fmla="*/ 13 h 49"/>
              <a:gd name="T52" fmla="*/ 58 w 103"/>
              <a:gd name="T53" fmla="*/ 18 h 49"/>
              <a:gd name="T54" fmla="*/ 54 w 103"/>
              <a:gd name="T55" fmla="*/ 9 h 49"/>
              <a:gd name="T56" fmla="*/ 49 w 103"/>
              <a:gd name="T57" fmla="*/ 13 h 49"/>
              <a:gd name="T58" fmla="*/ 45 w 103"/>
              <a:gd name="T59" fmla="*/ 4 h 49"/>
              <a:gd name="T60" fmla="*/ 27 w 103"/>
              <a:gd name="T61" fmla="*/ 4 h 49"/>
              <a:gd name="T62" fmla="*/ 18 w 103"/>
              <a:gd name="T63" fmla="*/ 0 h 49"/>
              <a:gd name="T64" fmla="*/ 5 w 103"/>
              <a:gd name="T65" fmla="*/ 0 h 49"/>
              <a:gd name="T66" fmla="*/ 0 w 103"/>
              <a:gd name="T67" fmla="*/ 0 h 4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03"/>
              <a:gd name="T103" fmla="*/ 0 h 49"/>
              <a:gd name="T104" fmla="*/ 103 w 103"/>
              <a:gd name="T105" fmla="*/ 49 h 4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03" h="49">
                <a:moveTo>
                  <a:pt x="0" y="0"/>
                </a:moveTo>
                <a:lnTo>
                  <a:pt x="18" y="9"/>
                </a:lnTo>
                <a:lnTo>
                  <a:pt x="23" y="18"/>
                </a:lnTo>
                <a:lnTo>
                  <a:pt x="23" y="31"/>
                </a:lnTo>
                <a:lnTo>
                  <a:pt x="18" y="35"/>
                </a:lnTo>
                <a:lnTo>
                  <a:pt x="40" y="40"/>
                </a:lnTo>
                <a:lnTo>
                  <a:pt x="49" y="44"/>
                </a:lnTo>
                <a:lnTo>
                  <a:pt x="58" y="49"/>
                </a:lnTo>
                <a:lnTo>
                  <a:pt x="63" y="44"/>
                </a:lnTo>
                <a:lnTo>
                  <a:pt x="72" y="49"/>
                </a:lnTo>
                <a:lnTo>
                  <a:pt x="76" y="44"/>
                </a:lnTo>
                <a:lnTo>
                  <a:pt x="85" y="49"/>
                </a:lnTo>
                <a:lnTo>
                  <a:pt x="94" y="44"/>
                </a:lnTo>
                <a:lnTo>
                  <a:pt x="99" y="49"/>
                </a:lnTo>
                <a:lnTo>
                  <a:pt x="103" y="44"/>
                </a:lnTo>
                <a:lnTo>
                  <a:pt x="94" y="40"/>
                </a:lnTo>
                <a:lnTo>
                  <a:pt x="90" y="35"/>
                </a:lnTo>
                <a:lnTo>
                  <a:pt x="94" y="26"/>
                </a:lnTo>
                <a:lnTo>
                  <a:pt x="85" y="22"/>
                </a:lnTo>
                <a:lnTo>
                  <a:pt x="90" y="18"/>
                </a:lnTo>
                <a:lnTo>
                  <a:pt x="76" y="18"/>
                </a:lnTo>
                <a:lnTo>
                  <a:pt x="76" y="13"/>
                </a:lnTo>
                <a:lnTo>
                  <a:pt x="67" y="13"/>
                </a:lnTo>
                <a:lnTo>
                  <a:pt x="67" y="18"/>
                </a:lnTo>
                <a:lnTo>
                  <a:pt x="63" y="13"/>
                </a:lnTo>
                <a:lnTo>
                  <a:pt x="58" y="18"/>
                </a:lnTo>
                <a:lnTo>
                  <a:pt x="54" y="9"/>
                </a:lnTo>
                <a:lnTo>
                  <a:pt x="49" y="13"/>
                </a:lnTo>
                <a:lnTo>
                  <a:pt x="45" y="4"/>
                </a:lnTo>
                <a:lnTo>
                  <a:pt x="27" y="4"/>
                </a:lnTo>
                <a:lnTo>
                  <a:pt x="18" y="0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1" name="Freeform 152"/>
          <p:cNvSpPr>
            <a:spLocks/>
          </p:cNvSpPr>
          <p:nvPr/>
        </p:nvSpPr>
        <p:spPr bwMode="gray">
          <a:xfrm>
            <a:off x="4262051" y="4849452"/>
            <a:ext cx="1369" cy="10962"/>
          </a:xfrm>
          <a:custGeom>
            <a:avLst/>
            <a:gdLst>
              <a:gd name="T0" fmla="*/ 0 w 1"/>
              <a:gd name="T1" fmla="*/ 0 h 9"/>
              <a:gd name="T2" fmla="*/ 0 w 1"/>
              <a:gd name="T3" fmla="*/ 4 h 9"/>
              <a:gd name="T4" fmla="*/ 0 w 1"/>
              <a:gd name="T5" fmla="*/ 9 h 9"/>
              <a:gd name="T6" fmla="*/ 0 w 1"/>
              <a:gd name="T7" fmla="*/ 0 h 9"/>
              <a:gd name="T8" fmla="*/ 0 w 1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9"/>
              <a:gd name="T17" fmla="*/ 1 w 1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9">
                <a:moveTo>
                  <a:pt x="0" y="0"/>
                </a:moveTo>
                <a:lnTo>
                  <a:pt x="0" y="4"/>
                </a:lnTo>
                <a:lnTo>
                  <a:pt x="0" y="9"/>
                </a:lnTo>
                <a:lnTo>
                  <a:pt x="0" y="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2" name="Freeform 153"/>
          <p:cNvSpPr>
            <a:spLocks/>
          </p:cNvSpPr>
          <p:nvPr/>
        </p:nvSpPr>
        <p:spPr bwMode="gray">
          <a:xfrm>
            <a:off x="3650126" y="4680157"/>
            <a:ext cx="12321" cy="10962"/>
          </a:xfrm>
          <a:custGeom>
            <a:avLst/>
            <a:gdLst>
              <a:gd name="T0" fmla="*/ 0 w 9"/>
              <a:gd name="T1" fmla="*/ 5 h 9"/>
              <a:gd name="T2" fmla="*/ 9 w 9"/>
              <a:gd name="T3" fmla="*/ 0 h 9"/>
              <a:gd name="T4" fmla="*/ 5 w 9"/>
              <a:gd name="T5" fmla="*/ 9 h 9"/>
              <a:gd name="T6" fmla="*/ 0 w 9"/>
              <a:gd name="T7" fmla="*/ 5 h 9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9"/>
              <a:gd name="T14" fmla="*/ 9 w 9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9">
                <a:moveTo>
                  <a:pt x="0" y="5"/>
                </a:moveTo>
                <a:lnTo>
                  <a:pt x="9" y="0"/>
                </a:lnTo>
                <a:lnTo>
                  <a:pt x="5" y="9"/>
                </a:lnTo>
                <a:lnTo>
                  <a:pt x="0" y="5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3" name="Freeform 154"/>
          <p:cNvSpPr>
            <a:spLocks/>
          </p:cNvSpPr>
          <p:nvPr/>
        </p:nvSpPr>
        <p:spPr bwMode="gray">
          <a:xfrm>
            <a:off x="2764410" y="4397594"/>
            <a:ext cx="555798" cy="555383"/>
          </a:xfrm>
          <a:custGeom>
            <a:avLst/>
            <a:gdLst>
              <a:gd name="T0" fmla="*/ 22 w 406"/>
              <a:gd name="T1" fmla="*/ 223 h 456"/>
              <a:gd name="T2" fmla="*/ 9 w 406"/>
              <a:gd name="T3" fmla="*/ 237 h 456"/>
              <a:gd name="T4" fmla="*/ 53 w 406"/>
              <a:gd name="T5" fmla="*/ 259 h 456"/>
              <a:gd name="T6" fmla="*/ 67 w 406"/>
              <a:gd name="T7" fmla="*/ 237 h 456"/>
              <a:gd name="T8" fmla="*/ 67 w 406"/>
              <a:gd name="T9" fmla="*/ 272 h 456"/>
              <a:gd name="T10" fmla="*/ 89 w 406"/>
              <a:gd name="T11" fmla="*/ 357 h 456"/>
              <a:gd name="T12" fmla="*/ 111 w 406"/>
              <a:gd name="T13" fmla="*/ 429 h 456"/>
              <a:gd name="T14" fmla="*/ 147 w 406"/>
              <a:gd name="T15" fmla="*/ 451 h 456"/>
              <a:gd name="T16" fmla="*/ 161 w 406"/>
              <a:gd name="T17" fmla="*/ 438 h 456"/>
              <a:gd name="T18" fmla="*/ 170 w 406"/>
              <a:gd name="T19" fmla="*/ 420 h 456"/>
              <a:gd name="T20" fmla="*/ 174 w 406"/>
              <a:gd name="T21" fmla="*/ 344 h 456"/>
              <a:gd name="T22" fmla="*/ 201 w 406"/>
              <a:gd name="T23" fmla="*/ 326 h 456"/>
              <a:gd name="T24" fmla="*/ 237 w 406"/>
              <a:gd name="T25" fmla="*/ 281 h 456"/>
              <a:gd name="T26" fmla="*/ 254 w 406"/>
              <a:gd name="T27" fmla="*/ 277 h 456"/>
              <a:gd name="T28" fmla="*/ 277 w 406"/>
              <a:gd name="T29" fmla="*/ 250 h 456"/>
              <a:gd name="T30" fmla="*/ 304 w 406"/>
              <a:gd name="T31" fmla="*/ 246 h 456"/>
              <a:gd name="T32" fmla="*/ 286 w 406"/>
              <a:gd name="T33" fmla="*/ 201 h 456"/>
              <a:gd name="T34" fmla="*/ 281 w 406"/>
              <a:gd name="T35" fmla="*/ 187 h 456"/>
              <a:gd name="T36" fmla="*/ 308 w 406"/>
              <a:gd name="T37" fmla="*/ 183 h 456"/>
              <a:gd name="T38" fmla="*/ 348 w 406"/>
              <a:gd name="T39" fmla="*/ 205 h 456"/>
              <a:gd name="T40" fmla="*/ 339 w 406"/>
              <a:gd name="T41" fmla="*/ 223 h 456"/>
              <a:gd name="T42" fmla="*/ 348 w 406"/>
              <a:gd name="T43" fmla="*/ 241 h 456"/>
              <a:gd name="T44" fmla="*/ 353 w 406"/>
              <a:gd name="T45" fmla="*/ 232 h 456"/>
              <a:gd name="T46" fmla="*/ 366 w 406"/>
              <a:gd name="T47" fmla="*/ 205 h 456"/>
              <a:gd name="T48" fmla="*/ 388 w 406"/>
              <a:gd name="T49" fmla="*/ 161 h 456"/>
              <a:gd name="T50" fmla="*/ 406 w 406"/>
              <a:gd name="T51" fmla="*/ 147 h 456"/>
              <a:gd name="T52" fmla="*/ 379 w 406"/>
              <a:gd name="T53" fmla="*/ 138 h 456"/>
              <a:gd name="T54" fmla="*/ 348 w 406"/>
              <a:gd name="T55" fmla="*/ 143 h 456"/>
              <a:gd name="T56" fmla="*/ 317 w 406"/>
              <a:gd name="T57" fmla="*/ 165 h 456"/>
              <a:gd name="T58" fmla="*/ 295 w 406"/>
              <a:gd name="T59" fmla="*/ 170 h 456"/>
              <a:gd name="T60" fmla="*/ 295 w 406"/>
              <a:gd name="T61" fmla="*/ 147 h 456"/>
              <a:gd name="T62" fmla="*/ 286 w 406"/>
              <a:gd name="T63" fmla="*/ 170 h 456"/>
              <a:gd name="T64" fmla="*/ 245 w 406"/>
              <a:gd name="T65" fmla="*/ 165 h 456"/>
              <a:gd name="T66" fmla="*/ 219 w 406"/>
              <a:gd name="T67" fmla="*/ 161 h 456"/>
              <a:gd name="T68" fmla="*/ 178 w 406"/>
              <a:gd name="T69" fmla="*/ 134 h 456"/>
              <a:gd name="T70" fmla="*/ 178 w 406"/>
              <a:gd name="T71" fmla="*/ 107 h 456"/>
              <a:gd name="T72" fmla="*/ 147 w 406"/>
              <a:gd name="T73" fmla="*/ 71 h 456"/>
              <a:gd name="T74" fmla="*/ 147 w 406"/>
              <a:gd name="T75" fmla="*/ 22 h 456"/>
              <a:gd name="T76" fmla="*/ 125 w 406"/>
              <a:gd name="T77" fmla="*/ 31 h 456"/>
              <a:gd name="T78" fmla="*/ 76 w 406"/>
              <a:gd name="T79" fmla="*/ 44 h 456"/>
              <a:gd name="T80" fmla="*/ 94 w 406"/>
              <a:gd name="T81" fmla="*/ 85 h 456"/>
              <a:gd name="T82" fmla="*/ 58 w 406"/>
              <a:gd name="T83" fmla="*/ 134 h 456"/>
              <a:gd name="T84" fmla="*/ 27 w 406"/>
              <a:gd name="T85" fmla="*/ 147 h 456"/>
              <a:gd name="T86" fmla="*/ 27 w 406"/>
              <a:gd name="T87" fmla="*/ 170 h 456"/>
              <a:gd name="T88" fmla="*/ 44 w 406"/>
              <a:gd name="T89" fmla="*/ 205 h 456"/>
              <a:gd name="T90" fmla="*/ 0 w 406"/>
              <a:gd name="T91" fmla="*/ 219 h 45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06"/>
              <a:gd name="T139" fmla="*/ 0 h 456"/>
              <a:gd name="T140" fmla="*/ 406 w 406"/>
              <a:gd name="T141" fmla="*/ 456 h 45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06" h="456">
                <a:moveTo>
                  <a:pt x="0" y="219"/>
                </a:moveTo>
                <a:lnTo>
                  <a:pt x="13" y="232"/>
                </a:lnTo>
                <a:lnTo>
                  <a:pt x="22" y="223"/>
                </a:lnTo>
                <a:lnTo>
                  <a:pt x="36" y="223"/>
                </a:lnTo>
                <a:lnTo>
                  <a:pt x="27" y="237"/>
                </a:lnTo>
                <a:lnTo>
                  <a:pt x="9" y="237"/>
                </a:lnTo>
                <a:lnTo>
                  <a:pt x="22" y="259"/>
                </a:lnTo>
                <a:lnTo>
                  <a:pt x="40" y="268"/>
                </a:lnTo>
                <a:lnTo>
                  <a:pt x="53" y="259"/>
                </a:lnTo>
                <a:lnTo>
                  <a:pt x="58" y="241"/>
                </a:lnTo>
                <a:lnTo>
                  <a:pt x="58" y="237"/>
                </a:lnTo>
                <a:lnTo>
                  <a:pt x="67" y="237"/>
                </a:lnTo>
                <a:lnTo>
                  <a:pt x="62" y="254"/>
                </a:lnTo>
                <a:lnTo>
                  <a:pt x="67" y="259"/>
                </a:lnTo>
                <a:lnTo>
                  <a:pt x="67" y="272"/>
                </a:lnTo>
                <a:lnTo>
                  <a:pt x="67" y="304"/>
                </a:lnTo>
                <a:lnTo>
                  <a:pt x="71" y="317"/>
                </a:lnTo>
                <a:lnTo>
                  <a:pt x="89" y="357"/>
                </a:lnTo>
                <a:lnTo>
                  <a:pt x="94" y="380"/>
                </a:lnTo>
                <a:lnTo>
                  <a:pt x="111" y="406"/>
                </a:lnTo>
                <a:lnTo>
                  <a:pt x="111" y="429"/>
                </a:lnTo>
                <a:lnTo>
                  <a:pt x="116" y="438"/>
                </a:lnTo>
                <a:lnTo>
                  <a:pt x="134" y="456"/>
                </a:lnTo>
                <a:lnTo>
                  <a:pt x="147" y="451"/>
                </a:lnTo>
                <a:lnTo>
                  <a:pt x="147" y="438"/>
                </a:lnTo>
                <a:lnTo>
                  <a:pt x="161" y="442"/>
                </a:lnTo>
                <a:lnTo>
                  <a:pt x="161" y="438"/>
                </a:lnTo>
                <a:lnTo>
                  <a:pt x="156" y="438"/>
                </a:lnTo>
                <a:lnTo>
                  <a:pt x="161" y="420"/>
                </a:lnTo>
                <a:lnTo>
                  <a:pt x="170" y="420"/>
                </a:lnTo>
                <a:lnTo>
                  <a:pt x="170" y="397"/>
                </a:lnTo>
                <a:lnTo>
                  <a:pt x="174" y="380"/>
                </a:lnTo>
                <a:lnTo>
                  <a:pt x="174" y="344"/>
                </a:lnTo>
                <a:lnTo>
                  <a:pt x="174" y="339"/>
                </a:lnTo>
                <a:lnTo>
                  <a:pt x="187" y="335"/>
                </a:lnTo>
                <a:lnTo>
                  <a:pt x="201" y="326"/>
                </a:lnTo>
                <a:lnTo>
                  <a:pt x="201" y="317"/>
                </a:lnTo>
                <a:lnTo>
                  <a:pt x="237" y="290"/>
                </a:lnTo>
                <a:lnTo>
                  <a:pt x="237" y="281"/>
                </a:lnTo>
                <a:lnTo>
                  <a:pt x="241" y="277"/>
                </a:lnTo>
                <a:lnTo>
                  <a:pt x="245" y="281"/>
                </a:lnTo>
                <a:lnTo>
                  <a:pt x="254" y="277"/>
                </a:lnTo>
                <a:lnTo>
                  <a:pt x="268" y="263"/>
                </a:lnTo>
                <a:lnTo>
                  <a:pt x="263" y="259"/>
                </a:lnTo>
                <a:lnTo>
                  <a:pt x="277" y="250"/>
                </a:lnTo>
                <a:lnTo>
                  <a:pt x="281" y="237"/>
                </a:lnTo>
                <a:lnTo>
                  <a:pt x="286" y="250"/>
                </a:lnTo>
                <a:lnTo>
                  <a:pt x="304" y="246"/>
                </a:lnTo>
                <a:lnTo>
                  <a:pt x="290" y="214"/>
                </a:lnTo>
                <a:lnTo>
                  <a:pt x="290" y="205"/>
                </a:lnTo>
                <a:lnTo>
                  <a:pt x="286" y="201"/>
                </a:lnTo>
                <a:lnTo>
                  <a:pt x="290" y="196"/>
                </a:lnTo>
                <a:lnTo>
                  <a:pt x="295" y="192"/>
                </a:lnTo>
                <a:lnTo>
                  <a:pt x="281" y="187"/>
                </a:lnTo>
                <a:lnTo>
                  <a:pt x="286" y="174"/>
                </a:lnTo>
                <a:lnTo>
                  <a:pt x="290" y="170"/>
                </a:lnTo>
                <a:lnTo>
                  <a:pt x="308" y="183"/>
                </a:lnTo>
                <a:lnTo>
                  <a:pt x="312" y="187"/>
                </a:lnTo>
                <a:lnTo>
                  <a:pt x="348" y="192"/>
                </a:lnTo>
                <a:lnTo>
                  <a:pt x="348" y="205"/>
                </a:lnTo>
                <a:lnTo>
                  <a:pt x="335" y="214"/>
                </a:lnTo>
                <a:lnTo>
                  <a:pt x="330" y="223"/>
                </a:lnTo>
                <a:lnTo>
                  <a:pt x="339" y="223"/>
                </a:lnTo>
                <a:lnTo>
                  <a:pt x="339" y="214"/>
                </a:lnTo>
                <a:lnTo>
                  <a:pt x="344" y="214"/>
                </a:lnTo>
                <a:lnTo>
                  <a:pt x="348" y="241"/>
                </a:lnTo>
                <a:lnTo>
                  <a:pt x="348" y="250"/>
                </a:lnTo>
                <a:lnTo>
                  <a:pt x="353" y="246"/>
                </a:lnTo>
                <a:lnTo>
                  <a:pt x="353" y="232"/>
                </a:lnTo>
                <a:lnTo>
                  <a:pt x="357" y="232"/>
                </a:lnTo>
                <a:lnTo>
                  <a:pt x="357" y="210"/>
                </a:lnTo>
                <a:lnTo>
                  <a:pt x="366" y="205"/>
                </a:lnTo>
                <a:lnTo>
                  <a:pt x="375" y="192"/>
                </a:lnTo>
                <a:lnTo>
                  <a:pt x="375" y="183"/>
                </a:lnTo>
                <a:lnTo>
                  <a:pt x="388" y="161"/>
                </a:lnTo>
                <a:lnTo>
                  <a:pt x="402" y="156"/>
                </a:lnTo>
                <a:lnTo>
                  <a:pt x="406" y="156"/>
                </a:lnTo>
                <a:lnTo>
                  <a:pt x="406" y="147"/>
                </a:lnTo>
                <a:lnTo>
                  <a:pt x="406" y="138"/>
                </a:lnTo>
                <a:lnTo>
                  <a:pt x="393" y="134"/>
                </a:lnTo>
                <a:lnTo>
                  <a:pt x="379" y="138"/>
                </a:lnTo>
                <a:lnTo>
                  <a:pt x="379" y="129"/>
                </a:lnTo>
                <a:lnTo>
                  <a:pt x="366" y="129"/>
                </a:lnTo>
                <a:lnTo>
                  <a:pt x="348" y="143"/>
                </a:lnTo>
                <a:lnTo>
                  <a:pt x="335" y="147"/>
                </a:lnTo>
                <a:lnTo>
                  <a:pt x="335" y="165"/>
                </a:lnTo>
                <a:lnTo>
                  <a:pt x="317" y="165"/>
                </a:lnTo>
                <a:lnTo>
                  <a:pt x="312" y="170"/>
                </a:lnTo>
                <a:lnTo>
                  <a:pt x="299" y="170"/>
                </a:lnTo>
                <a:lnTo>
                  <a:pt x="295" y="170"/>
                </a:lnTo>
                <a:lnTo>
                  <a:pt x="295" y="165"/>
                </a:lnTo>
                <a:lnTo>
                  <a:pt x="290" y="156"/>
                </a:lnTo>
                <a:lnTo>
                  <a:pt x="295" y="147"/>
                </a:lnTo>
                <a:lnTo>
                  <a:pt x="295" y="143"/>
                </a:lnTo>
                <a:lnTo>
                  <a:pt x="286" y="152"/>
                </a:lnTo>
                <a:lnTo>
                  <a:pt x="286" y="170"/>
                </a:lnTo>
                <a:lnTo>
                  <a:pt x="277" y="174"/>
                </a:lnTo>
                <a:lnTo>
                  <a:pt x="245" y="170"/>
                </a:lnTo>
                <a:lnTo>
                  <a:pt x="245" y="165"/>
                </a:lnTo>
                <a:lnTo>
                  <a:pt x="237" y="165"/>
                </a:lnTo>
                <a:lnTo>
                  <a:pt x="228" y="156"/>
                </a:lnTo>
                <a:lnTo>
                  <a:pt x="219" y="161"/>
                </a:lnTo>
                <a:lnTo>
                  <a:pt x="205" y="156"/>
                </a:lnTo>
                <a:lnTo>
                  <a:pt x="178" y="143"/>
                </a:lnTo>
                <a:lnTo>
                  <a:pt x="178" y="134"/>
                </a:lnTo>
                <a:lnTo>
                  <a:pt x="170" y="134"/>
                </a:lnTo>
                <a:lnTo>
                  <a:pt x="170" y="116"/>
                </a:lnTo>
                <a:lnTo>
                  <a:pt x="178" y="107"/>
                </a:lnTo>
                <a:lnTo>
                  <a:pt x="165" y="94"/>
                </a:lnTo>
                <a:lnTo>
                  <a:pt x="156" y="98"/>
                </a:lnTo>
                <a:lnTo>
                  <a:pt x="147" y="71"/>
                </a:lnTo>
                <a:lnTo>
                  <a:pt x="156" y="49"/>
                </a:lnTo>
                <a:lnTo>
                  <a:pt x="156" y="35"/>
                </a:lnTo>
                <a:lnTo>
                  <a:pt x="147" y="22"/>
                </a:lnTo>
                <a:lnTo>
                  <a:pt x="147" y="4"/>
                </a:lnTo>
                <a:lnTo>
                  <a:pt x="129" y="0"/>
                </a:lnTo>
                <a:lnTo>
                  <a:pt x="125" y="31"/>
                </a:lnTo>
                <a:lnTo>
                  <a:pt x="111" y="27"/>
                </a:lnTo>
                <a:lnTo>
                  <a:pt x="80" y="27"/>
                </a:lnTo>
                <a:lnTo>
                  <a:pt x="76" y="44"/>
                </a:lnTo>
                <a:lnTo>
                  <a:pt x="80" y="58"/>
                </a:lnTo>
                <a:lnTo>
                  <a:pt x="103" y="71"/>
                </a:lnTo>
                <a:lnTo>
                  <a:pt x="94" y="85"/>
                </a:lnTo>
                <a:lnTo>
                  <a:pt x="85" y="103"/>
                </a:lnTo>
                <a:lnTo>
                  <a:pt x="76" y="125"/>
                </a:lnTo>
                <a:lnTo>
                  <a:pt x="58" y="134"/>
                </a:lnTo>
                <a:lnTo>
                  <a:pt x="53" y="143"/>
                </a:lnTo>
                <a:lnTo>
                  <a:pt x="36" y="152"/>
                </a:lnTo>
                <a:lnTo>
                  <a:pt x="27" y="147"/>
                </a:lnTo>
                <a:lnTo>
                  <a:pt x="18" y="161"/>
                </a:lnTo>
                <a:lnTo>
                  <a:pt x="13" y="170"/>
                </a:lnTo>
                <a:lnTo>
                  <a:pt x="27" y="170"/>
                </a:lnTo>
                <a:lnTo>
                  <a:pt x="22" y="178"/>
                </a:lnTo>
                <a:lnTo>
                  <a:pt x="36" y="183"/>
                </a:lnTo>
                <a:lnTo>
                  <a:pt x="44" y="205"/>
                </a:lnTo>
                <a:lnTo>
                  <a:pt x="31" y="205"/>
                </a:lnTo>
                <a:lnTo>
                  <a:pt x="4" y="210"/>
                </a:lnTo>
                <a:lnTo>
                  <a:pt x="0" y="219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4" name="Freeform 155"/>
          <p:cNvSpPr>
            <a:spLocks noEditPoints="1"/>
          </p:cNvSpPr>
          <p:nvPr/>
        </p:nvSpPr>
        <p:spPr bwMode="gray">
          <a:xfrm>
            <a:off x="3290090" y="4990734"/>
            <a:ext cx="899406" cy="299615"/>
          </a:xfrm>
          <a:custGeom>
            <a:avLst/>
            <a:gdLst>
              <a:gd name="T0" fmla="*/ 45 w 657"/>
              <a:gd name="T1" fmla="*/ 53 h 246"/>
              <a:gd name="T2" fmla="*/ 85 w 657"/>
              <a:gd name="T3" fmla="*/ 125 h 246"/>
              <a:gd name="T4" fmla="*/ 147 w 657"/>
              <a:gd name="T5" fmla="*/ 161 h 246"/>
              <a:gd name="T6" fmla="*/ 134 w 657"/>
              <a:gd name="T7" fmla="*/ 103 h 246"/>
              <a:gd name="T8" fmla="*/ 116 w 657"/>
              <a:gd name="T9" fmla="*/ 76 h 246"/>
              <a:gd name="T10" fmla="*/ 80 w 657"/>
              <a:gd name="T11" fmla="*/ 53 h 246"/>
              <a:gd name="T12" fmla="*/ 18 w 657"/>
              <a:gd name="T13" fmla="*/ 9 h 246"/>
              <a:gd name="T14" fmla="*/ 40 w 657"/>
              <a:gd name="T15" fmla="*/ 80 h 246"/>
              <a:gd name="T16" fmla="*/ 54 w 657"/>
              <a:gd name="T17" fmla="*/ 116 h 246"/>
              <a:gd name="T18" fmla="*/ 71 w 657"/>
              <a:gd name="T19" fmla="*/ 125 h 246"/>
              <a:gd name="T20" fmla="*/ 76 w 657"/>
              <a:gd name="T21" fmla="*/ 125 h 246"/>
              <a:gd name="T22" fmla="*/ 165 w 657"/>
              <a:gd name="T23" fmla="*/ 129 h 246"/>
              <a:gd name="T24" fmla="*/ 152 w 657"/>
              <a:gd name="T25" fmla="*/ 179 h 246"/>
              <a:gd name="T26" fmla="*/ 192 w 657"/>
              <a:gd name="T27" fmla="*/ 196 h 246"/>
              <a:gd name="T28" fmla="*/ 277 w 657"/>
              <a:gd name="T29" fmla="*/ 192 h 246"/>
              <a:gd name="T30" fmla="*/ 255 w 657"/>
              <a:gd name="T31" fmla="*/ 188 h 246"/>
              <a:gd name="T32" fmla="*/ 196 w 657"/>
              <a:gd name="T33" fmla="*/ 174 h 246"/>
              <a:gd name="T34" fmla="*/ 174 w 657"/>
              <a:gd name="T35" fmla="*/ 129 h 246"/>
              <a:gd name="T36" fmla="*/ 183 w 657"/>
              <a:gd name="T37" fmla="*/ 22 h 246"/>
              <a:gd name="T38" fmla="*/ 201 w 657"/>
              <a:gd name="T39" fmla="*/ 53 h 246"/>
              <a:gd name="T40" fmla="*/ 214 w 657"/>
              <a:gd name="T41" fmla="*/ 98 h 246"/>
              <a:gd name="T42" fmla="*/ 259 w 657"/>
              <a:gd name="T43" fmla="*/ 129 h 246"/>
              <a:gd name="T44" fmla="*/ 304 w 657"/>
              <a:gd name="T45" fmla="*/ 129 h 246"/>
              <a:gd name="T46" fmla="*/ 344 w 657"/>
              <a:gd name="T47" fmla="*/ 67 h 246"/>
              <a:gd name="T48" fmla="*/ 304 w 657"/>
              <a:gd name="T49" fmla="*/ 18 h 246"/>
              <a:gd name="T50" fmla="*/ 228 w 657"/>
              <a:gd name="T51" fmla="*/ 71 h 246"/>
              <a:gd name="T52" fmla="*/ 290 w 657"/>
              <a:gd name="T53" fmla="*/ 201 h 246"/>
              <a:gd name="T54" fmla="*/ 304 w 657"/>
              <a:gd name="T55" fmla="*/ 210 h 246"/>
              <a:gd name="T56" fmla="*/ 344 w 657"/>
              <a:gd name="T57" fmla="*/ 210 h 246"/>
              <a:gd name="T58" fmla="*/ 411 w 657"/>
              <a:gd name="T59" fmla="*/ 205 h 246"/>
              <a:gd name="T60" fmla="*/ 353 w 657"/>
              <a:gd name="T61" fmla="*/ 210 h 246"/>
              <a:gd name="T62" fmla="*/ 339 w 657"/>
              <a:gd name="T63" fmla="*/ 219 h 246"/>
              <a:gd name="T64" fmla="*/ 366 w 657"/>
              <a:gd name="T65" fmla="*/ 67 h 246"/>
              <a:gd name="T66" fmla="*/ 339 w 657"/>
              <a:gd name="T67" fmla="*/ 120 h 246"/>
              <a:gd name="T68" fmla="*/ 362 w 657"/>
              <a:gd name="T69" fmla="*/ 165 h 246"/>
              <a:gd name="T70" fmla="*/ 380 w 657"/>
              <a:gd name="T71" fmla="*/ 156 h 246"/>
              <a:gd name="T72" fmla="*/ 397 w 657"/>
              <a:gd name="T73" fmla="*/ 165 h 246"/>
              <a:gd name="T74" fmla="*/ 371 w 657"/>
              <a:gd name="T75" fmla="*/ 112 h 246"/>
              <a:gd name="T76" fmla="*/ 380 w 657"/>
              <a:gd name="T77" fmla="*/ 98 h 246"/>
              <a:gd name="T78" fmla="*/ 433 w 657"/>
              <a:gd name="T79" fmla="*/ 62 h 246"/>
              <a:gd name="T80" fmla="*/ 433 w 657"/>
              <a:gd name="T81" fmla="*/ 210 h 246"/>
              <a:gd name="T82" fmla="*/ 420 w 657"/>
              <a:gd name="T83" fmla="*/ 201 h 246"/>
              <a:gd name="T84" fmla="*/ 402 w 657"/>
              <a:gd name="T85" fmla="*/ 246 h 246"/>
              <a:gd name="T86" fmla="*/ 447 w 657"/>
              <a:gd name="T87" fmla="*/ 143 h 246"/>
              <a:gd name="T88" fmla="*/ 482 w 657"/>
              <a:gd name="T89" fmla="*/ 76 h 246"/>
              <a:gd name="T90" fmla="*/ 469 w 657"/>
              <a:gd name="T91" fmla="*/ 53 h 246"/>
              <a:gd name="T92" fmla="*/ 464 w 657"/>
              <a:gd name="T93" fmla="*/ 76 h 246"/>
              <a:gd name="T94" fmla="*/ 469 w 657"/>
              <a:gd name="T95" fmla="*/ 98 h 246"/>
              <a:gd name="T96" fmla="*/ 505 w 657"/>
              <a:gd name="T97" fmla="*/ 125 h 246"/>
              <a:gd name="T98" fmla="*/ 500 w 657"/>
              <a:gd name="T99" fmla="*/ 134 h 246"/>
              <a:gd name="T100" fmla="*/ 509 w 657"/>
              <a:gd name="T101" fmla="*/ 205 h 246"/>
              <a:gd name="T102" fmla="*/ 563 w 657"/>
              <a:gd name="T103" fmla="*/ 170 h 246"/>
              <a:gd name="T104" fmla="*/ 563 w 657"/>
              <a:gd name="T105" fmla="*/ 161 h 246"/>
              <a:gd name="T106" fmla="*/ 590 w 657"/>
              <a:gd name="T107" fmla="*/ 120 h 246"/>
              <a:gd name="T108" fmla="*/ 554 w 657"/>
              <a:gd name="T109" fmla="*/ 94 h 246"/>
              <a:gd name="T110" fmla="*/ 509 w 657"/>
              <a:gd name="T111" fmla="*/ 107 h 246"/>
              <a:gd name="T112" fmla="*/ 536 w 657"/>
              <a:gd name="T113" fmla="*/ 125 h 246"/>
              <a:gd name="T114" fmla="*/ 545 w 657"/>
              <a:gd name="T115" fmla="*/ 147 h 246"/>
              <a:gd name="T116" fmla="*/ 625 w 657"/>
              <a:gd name="T117" fmla="*/ 196 h 246"/>
              <a:gd name="T118" fmla="*/ 652 w 657"/>
              <a:gd name="T119" fmla="*/ 214 h 24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57"/>
              <a:gd name="T181" fmla="*/ 0 h 246"/>
              <a:gd name="T182" fmla="*/ 657 w 657"/>
              <a:gd name="T183" fmla="*/ 246 h 24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57" h="246">
                <a:moveTo>
                  <a:pt x="0" y="4"/>
                </a:moveTo>
                <a:lnTo>
                  <a:pt x="0" y="9"/>
                </a:lnTo>
                <a:lnTo>
                  <a:pt x="4" y="18"/>
                </a:lnTo>
                <a:lnTo>
                  <a:pt x="22" y="31"/>
                </a:lnTo>
                <a:lnTo>
                  <a:pt x="36" y="53"/>
                </a:lnTo>
                <a:lnTo>
                  <a:pt x="45" y="53"/>
                </a:lnTo>
                <a:lnTo>
                  <a:pt x="54" y="58"/>
                </a:lnTo>
                <a:lnTo>
                  <a:pt x="49" y="62"/>
                </a:lnTo>
                <a:lnTo>
                  <a:pt x="58" y="85"/>
                </a:lnTo>
                <a:lnTo>
                  <a:pt x="62" y="85"/>
                </a:lnTo>
                <a:lnTo>
                  <a:pt x="85" y="112"/>
                </a:lnTo>
                <a:lnTo>
                  <a:pt x="85" y="125"/>
                </a:lnTo>
                <a:lnTo>
                  <a:pt x="107" y="156"/>
                </a:lnTo>
                <a:lnTo>
                  <a:pt x="121" y="161"/>
                </a:lnTo>
                <a:lnTo>
                  <a:pt x="134" y="179"/>
                </a:lnTo>
                <a:lnTo>
                  <a:pt x="129" y="165"/>
                </a:lnTo>
                <a:lnTo>
                  <a:pt x="147" y="174"/>
                </a:lnTo>
                <a:lnTo>
                  <a:pt x="147" y="161"/>
                </a:lnTo>
                <a:lnTo>
                  <a:pt x="152" y="174"/>
                </a:lnTo>
                <a:lnTo>
                  <a:pt x="156" y="134"/>
                </a:lnTo>
                <a:lnTo>
                  <a:pt x="147" y="120"/>
                </a:lnTo>
                <a:lnTo>
                  <a:pt x="138" y="116"/>
                </a:lnTo>
                <a:lnTo>
                  <a:pt x="138" y="120"/>
                </a:lnTo>
                <a:lnTo>
                  <a:pt x="134" y="103"/>
                </a:lnTo>
                <a:lnTo>
                  <a:pt x="116" y="98"/>
                </a:lnTo>
                <a:lnTo>
                  <a:pt x="121" y="94"/>
                </a:lnTo>
                <a:lnTo>
                  <a:pt x="121" y="89"/>
                </a:lnTo>
                <a:lnTo>
                  <a:pt x="125" y="85"/>
                </a:lnTo>
                <a:lnTo>
                  <a:pt x="125" y="80"/>
                </a:lnTo>
                <a:lnTo>
                  <a:pt x="116" y="76"/>
                </a:lnTo>
                <a:lnTo>
                  <a:pt x="112" y="80"/>
                </a:lnTo>
                <a:lnTo>
                  <a:pt x="116" y="71"/>
                </a:lnTo>
                <a:lnTo>
                  <a:pt x="103" y="62"/>
                </a:lnTo>
                <a:lnTo>
                  <a:pt x="98" y="62"/>
                </a:lnTo>
                <a:lnTo>
                  <a:pt x="98" y="53"/>
                </a:lnTo>
                <a:lnTo>
                  <a:pt x="80" y="53"/>
                </a:lnTo>
                <a:lnTo>
                  <a:pt x="71" y="45"/>
                </a:lnTo>
                <a:lnTo>
                  <a:pt x="67" y="49"/>
                </a:lnTo>
                <a:lnTo>
                  <a:pt x="67" y="40"/>
                </a:lnTo>
                <a:lnTo>
                  <a:pt x="36" y="4"/>
                </a:lnTo>
                <a:lnTo>
                  <a:pt x="27" y="4"/>
                </a:lnTo>
                <a:lnTo>
                  <a:pt x="18" y="9"/>
                </a:lnTo>
                <a:lnTo>
                  <a:pt x="4" y="0"/>
                </a:lnTo>
                <a:lnTo>
                  <a:pt x="0" y="4"/>
                </a:lnTo>
                <a:close/>
                <a:moveTo>
                  <a:pt x="31" y="62"/>
                </a:moveTo>
                <a:lnTo>
                  <a:pt x="22" y="67"/>
                </a:lnTo>
                <a:lnTo>
                  <a:pt x="36" y="80"/>
                </a:lnTo>
                <a:lnTo>
                  <a:pt x="40" y="80"/>
                </a:lnTo>
                <a:lnTo>
                  <a:pt x="40" y="71"/>
                </a:lnTo>
                <a:lnTo>
                  <a:pt x="31" y="62"/>
                </a:lnTo>
                <a:close/>
                <a:moveTo>
                  <a:pt x="54" y="98"/>
                </a:moveTo>
                <a:lnTo>
                  <a:pt x="49" y="103"/>
                </a:lnTo>
                <a:lnTo>
                  <a:pt x="49" y="107"/>
                </a:lnTo>
                <a:lnTo>
                  <a:pt x="54" y="116"/>
                </a:lnTo>
                <a:lnTo>
                  <a:pt x="62" y="112"/>
                </a:lnTo>
                <a:lnTo>
                  <a:pt x="54" y="98"/>
                </a:lnTo>
                <a:close/>
                <a:moveTo>
                  <a:pt x="67" y="116"/>
                </a:moveTo>
                <a:lnTo>
                  <a:pt x="62" y="116"/>
                </a:lnTo>
                <a:lnTo>
                  <a:pt x="67" y="125"/>
                </a:lnTo>
                <a:lnTo>
                  <a:pt x="71" y="125"/>
                </a:lnTo>
                <a:lnTo>
                  <a:pt x="71" y="129"/>
                </a:lnTo>
                <a:lnTo>
                  <a:pt x="76" y="129"/>
                </a:lnTo>
                <a:lnTo>
                  <a:pt x="80" y="138"/>
                </a:lnTo>
                <a:lnTo>
                  <a:pt x="80" y="134"/>
                </a:lnTo>
                <a:lnTo>
                  <a:pt x="76" y="129"/>
                </a:lnTo>
                <a:lnTo>
                  <a:pt x="76" y="125"/>
                </a:lnTo>
                <a:lnTo>
                  <a:pt x="67" y="116"/>
                </a:lnTo>
                <a:close/>
                <a:moveTo>
                  <a:pt x="147" y="107"/>
                </a:moveTo>
                <a:lnTo>
                  <a:pt x="147" y="116"/>
                </a:lnTo>
                <a:lnTo>
                  <a:pt x="152" y="116"/>
                </a:lnTo>
                <a:lnTo>
                  <a:pt x="156" y="129"/>
                </a:lnTo>
                <a:lnTo>
                  <a:pt x="165" y="129"/>
                </a:lnTo>
                <a:lnTo>
                  <a:pt x="165" y="120"/>
                </a:lnTo>
                <a:lnTo>
                  <a:pt x="161" y="120"/>
                </a:lnTo>
                <a:lnTo>
                  <a:pt x="152" y="107"/>
                </a:lnTo>
                <a:lnTo>
                  <a:pt x="147" y="107"/>
                </a:lnTo>
                <a:close/>
                <a:moveTo>
                  <a:pt x="152" y="179"/>
                </a:moveTo>
                <a:lnTo>
                  <a:pt x="143" y="179"/>
                </a:lnTo>
                <a:lnTo>
                  <a:pt x="143" y="188"/>
                </a:lnTo>
                <a:lnTo>
                  <a:pt x="165" y="188"/>
                </a:lnTo>
                <a:lnTo>
                  <a:pt x="161" y="192"/>
                </a:lnTo>
                <a:lnTo>
                  <a:pt x="188" y="201"/>
                </a:lnTo>
                <a:lnTo>
                  <a:pt x="192" y="196"/>
                </a:lnTo>
                <a:lnTo>
                  <a:pt x="250" y="210"/>
                </a:lnTo>
                <a:lnTo>
                  <a:pt x="259" y="205"/>
                </a:lnTo>
                <a:lnTo>
                  <a:pt x="272" y="210"/>
                </a:lnTo>
                <a:lnTo>
                  <a:pt x="281" y="210"/>
                </a:lnTo>
                <a:lnTo>
                  <a:pt x="277" y="205"/>
                </a:lnTo>
                <a:lnTo>
                  <a:pt x="277" y="192"/>
                </a:lnTo>
                <a:lnTo>
                  <a:pt x="259" y="192"/>
                </a:lnTo>
                <a:lnTo>
                  <a:pt x="255" y="188"/>
                </a:lnTo>
                <a:lnTo>
                  <a:pt x="263" y="192"/>
                </a:lnTo>
                <a:lnTo>
                  <a:pt x="277" y="188"/>
                </a:lnTo>
                <a:lnTo>
                  <a:pt x="277" y="183"/>
                </a:lnTo>
                <a:lnTo>
                  <a:pt x="255" y="188"/>
                </a:lnTo>
                <a:lnTo>
                  <a:pt x="237" y="174"/>
                </a:lnTo>
                <a:lnTo>
                  <a:pt x="228" y="174"/>
                </a:lnTo>
                <a:lnTo>
                  <a:pt x="219" y="188"/>
                </a:lnTo>
                <a:lnTo>
                  <a:pt x="205" y="183"/>
                </a:lnTo>
                <a:lnTo>
                  <a:pt x="196" y="183"/>
                </a:lnTo>
                <a:lnTo>
                  <a:pt x="196" y="174"/>
                </a:lnTo>
                <a:lnTo>
                  <a:pt x="179" y="170"/>
                </a:lnTo>
                <a:lnTo>
                  <a:pt x="156" y="170"/>
                </a:lnTo>
                <a:lnTo>
                  <a:pt x="156" y="179"/>
                </a:lnTo>
                <a:lnTo>
                  <a:pt x="152" y="179"/>
                </a:lnTo>
                <a:close/>
                <a:moveTo>
                  <a:pt x="170" y="125"/>
                </a:moveTo>
                <a:lnTo>
                  <a:pt x="174" y="129"/>
                </a:lnTo>
                <a:lnTo>
                  <a:pt x="179" y="138"/>
                </a:lnTo>
                <a:lnTo>
                  <a:pt x="188" y="134"/>
                </a:lnTo>
                <a:lnTo>
                  <a:pt x="188" y="125"/>
                </a:lnTo>
                <a:lnTo>
                  <a:pt x="183" y="120"/>
                </a:lnTo>
                <a:lnTo>
                  <a:pt x="170" y="125"/>
                </a:lnTo>
                <a:close/>
                <a:moveTo>
                  <a:pt x="183" y="22"/>
                </a:moveTo>
                <a:lnTo>
                  <a:pt x="183" y="31"/>
                </a:lnTo>
                <a:lnTo>
                  <a:pt x="192" y="27"/>
                </a:lnTo>
                <a:lnTo>
                  <a:pt x="188" y="18"/>
                </a:lnTo>
                <a:lnTo>
                  <a:pt x="183" y="22"/>
                </a:lnTo>
                <a:close/>
                <a:moveTo>
                  <a:pt x="205" y="53"/>
                </a:moveTo>
                <a:lnTo>
                  <a:pt x="201" y="53"/>
                </a:lnTo>
                <a:lnTo>
                  <a:pt x="196" y="71"/>
                </a:lnTo>
                <a:lnTo>
                  <a:pt x="196" y="80"/>
                </a:lnTo>
                <a:lnTo>
                  <a:pt x="201" y="85"/>
                </a:lnTo>
                <a:lnTo>
                  <a:pt x="201" y="94"/>
                </a:lnTo>
                <a:lnTo>
                  <a:pt x="205" y="107"/>
                </a:lnTo>
                <a:lnTo>
                  <a:pt x="214" y="98"/>
                </a:lnTo>
                <a:lnTo>
                  <a:pt x="214" y="103"/>
                </a:lnTo>
                <a:lnTo>
                  <a:pt x="214" y="112"/>
                </a:lnTo>
                <a:lnTo>
                  <a:pt x="214" y="134"/>
                </a:lnTo>
                <a:lnTo>
                  <a:pt x="241" y="129"/>
                </a:lnTo>
                <a:lnTo>
                  <a:pt x="241" y="138"/>
                </a:lnTo>
                <a:lnTo>
                  <a:pt x="259" y="129"/>
                </a:lnTo>
                <a:lnTo>
                  <a:pt x="277" y="138"/>
                </a:lnTo>
                <a:lnTo>
                  <a:pt x="281" y="147"/>
                </a:lnTo>
                <a:lnTo>
                  <a:pt x="295" y="134"/>
                </a:lnTo>
                <a:lnTo>
                  <a:pt x="299" y="143"/>
                </a:lnTo>
                <a:lnTo>
                  <a:pt x="304" y="138"/>
                </a:lnTo>
                <a:lnTo>
                  <a:pt x="304" y="129"/>
                </a:lnTo>
                <a:lnTo>
                  <a:pt x="304" y="116"/>
                </a:lnTo>
                <a:lnTo>
                  <a:pt x="304" y="112"/>
                </a:lnTo>
                <a:lnTo>
                  <a:pt x="322" y="94"/>
                </a:lnTo>
                <a:lnTo>
                  <a:pt x="322" y="85"/>
                </a:lnTo>
                <a:lnTo>
                  <a:pt x="326" y="71"/>
                </a:lnTo>
                <a:lnTo>
                  <a:pt x="344" y="67"/>
                </a:lnTo>
                <a:lnTo>
                  <a:pt x="322" y="53"/>
                </a:lnTo>
                <a:lnTo>
                  <a:pt x="326" y="49"/>
                </a:lnTo>
                <a:lnTo>
                  <a:pt x="322" y="36"/>
                </a:lnTo>
                <a:lnTo>
                  <a:pt x="326" y="27"/>
                </a:lnTo>
                <a:lnTo>
                  <a:pt x="322" y="18"/>
                </a:lnTo>
                <a:lnTo>
                  <a:pt x="304" y="18"/>
                </a:lnTo>
                <a:lnTo>
                  <a:pt x="295" y="22"/>
                </a:lnTo>
                <a:lnTo>
                  <a:pt x="281" y="49"/>
                </a:lnTo>
                <a:lnTo>
                  <a:pt x="277" y="62"/>
                </a:lnTo>
                <a:lnTo>
                  <a:pt x="255" y="62"/>
                </a:lnTo>
                <a:lnTo>
                  <a:pt x="246" y="71"/>
                </a:lnTo>
                <a:lnTo>
                  <a:pt x="228" y="71"/>
                </a:lnTo>
                <a:lnTo>
                  <a:pt x="210" y="58"/>
                </a:lnTo>
                <a:lnTo>
                  <a:pt x="205" y="53"/>
                </a:lnTo>
                <a:close/>
                <a:moveTo>
                  <a:pt x="281" y="205"/>
                </a:moveTo>
                <a:lnTo>
                  <a:pt x="290" y="214"/>
                </a:lnTo>
                <a:lnTo>
                  <a:pt x="295" y="210"/>
                </a:lnTo>
                <a:lnTo>
                  <a:pt x="290" y="201"/>
                </a:lnTo>
                <a:lnTo>
                  <a:pt x="281" y="205"/>
                </a:lnTo>
                <a:close/>
                <a:moveTo>
                  <a:pt x="304" y="201"/>
                </a:moveTo>
                <a:lnTo>
                  <a:pt x="299" y="205"/>
                </a:lnTo>
                <a:lnTo>
                  <a:pt x="299" y="210"/>
                </a:lnTo>
                <a:lnTo>
                  <a:pt x="299" y="214"/>
                </a:lnTo>
                <a:lnTo>
                  <a:pt x="304" y="210"/>
                </a:lnTo>
                <a:lnTo>
                  <a:pt x="313" y="205"/>
                </a:lnTo>
                <a:lnTo>
                  <a:pt x="304" y="201"/>
                </a:lnTo>
                <a:close/>
                <a:moveTo>
                  <a:pt x="313" y="205"/>
                </a:moveTo>
                <a:lnTo>
                  <a:pt x="308" y="214"/>
                </a:lnTo>
                <a:lnTo>
                  <a:pt x="339" y="214"/>
                </a:lnTo>
                <a:lnTo>
                  <a:pt x="344" y="210"/>
                </a:lnTo>
                <a:lnTo>
                  <a:pt x="353" y="210"/>
                </a:lnTo>
                <a:lnTo>
                  <a:pt x="362" y="214"/>
                </a:lnTo>
                <a:lnTo>
                  <a:pt x="397" y="210"/>
                </a:lnTo>
                <a:lnTo>
                  <a:pt x="402" y="210"/>
                </a:lnTo>
                <a:lnTo>
                  <a:pt x="411" y="205"/>
                </a:lnTo>
                <a:lnTo>
                  <a:pt x="402" y="205"/>
                </a:lnTo>
                <a:lnTo>
                  <a:pt x="393" y="201"/>
                </a:lnTo>
                <a:lnTo>
                  <a:pt x="384" y="205"/>
                </a:lnTo>
                <a:lnTo>
                  <a:pt x="371" y="205"/>
                </a:lnTo>
                <a:lnTo>
                  <a:pt x="362" y="205"/>
                </a:lnTo>
                <a:lnTo>
                  <a:pt x="353" y="210"/>
                </a:lnTo>
                <a:lnTo>
                  <a:pt x="344" y="205"/>
                </a:lnTo>
                <a:lnTo>
                  <a:pt x="339" y="201"/>
                </a:lnTo>
                <a:lnTo>
                  <a:pt x="326" y="201"/>
                </a:lnTo>
                <a:lnTo>
                  <a:pt x="326" y="210"/>
                </a:lnTo>
                <a:lnTo>
                  <a:pt x="313" y="205"/>
                </a:lnTo>
                <a:close/>
                <a:moveTo>
                  <a:pt x="339" y="219"/>
                </a:moveTo>
                <a:lnTo>
                  <a:pt x="362" y="237"/>
                </a:lnTo>
                <a:lnTo>
                  <a:pt x="371" y="232"/>
                </a:lnTo>
                <a:lnTo>
                  <a:pt x="357" y="219"/>
                </a:lnTo>
                <a:lnTo>
                  <a:pt x="348" y="219"/>
                </a:lnTo>
                <a:lnTo>
                  <a:pt x="339" y="219"/>
                </a:lnTo>
                <a:close/>
                <a:moveTo>
                  <a:pt x="366" y="67"/>
                </a:moveTo>
                <a:lnTo>
                  <a:pt x="366" y="71"/>
                </a:lnTo>
                <a:lnTo>
                  <a:pt x="357" y="76"/>
                </a:lnTo>
                <a:lnTo>
                  <a:pt x="353" y="85"/>
                </a:lnTo>
                <a:lnTo>
                  <a:pt x="344" y="89"/>
                </a:lnTo>
                <a:lnTo>
                  <a:pt x="348" y="94"/>
                </a:lnTo>
                <a:lnTo>
                  <a:pt x="339" y="120"/>
                </a:lnTo>
                <a:lnTo>
                  <a:pt x="339" y="138"/>
                </a:lnTo>
                <a:lnTo>
                  <a:pt x="348" y="134"/>
                </a:lnTo>
                <a:lnTo>
                  <a:pt x="353" y="143"/>
                </a:lnTo>
                <a:lnTo>
                  <a:pt x="348" y="165"/>
                </a:lnTo>
                <a:lnTo>
                  <a:pt x="353" y="170"/>
                </a:lnTo>
                <a:lnTo>
                  <a:pt x="362" y="165"/>
                </a:lnTo>
                <a:lnTo>
                  <a:pt x="362" y="125"/>
                </a:lnTo>
                <a:lnTo>
                  <a:pt x="371" y="125"/>
                </a:lnTo>
                <a:lnTo>
                  <a:pt x="366" y="138"/>
                </a:lnTo>
                <a:lnTo>
                  <a:pt x="375" y="143"/>
                </a:lnTo>
                <a:lnTo>
                  <a:pt x="375" y="152"/>
                </a:lnTo>
                <a:lnTo>
                  <a:pt x="380" y="156"/>
                </a:lnTo>
                <a:lnTo>
                  <a:pt x="384" y="152"/>
                </a:lnTo>
                <a:lnTo>
                  <a:pt x="393" y="152"/>
                </a:lnTo>
                <a:lnTo>
                  <a:pt x="384" y="156"/>
                </a:lnTo>
                <a:lnTo>
                  <a:pt x="389" y="165"/>
                </a:lnTo>
                <a:lnTo>
                  <a:pt x="393" y="170"/>
                </a:lnTo>
                <a:lnTo>
                  <a:pt x="397" y="165"/>
                </a:lnTo>
                <a:lnTo>
                  <a:pt x="397" y="156"/>
                </a:lnTo>
                <a:lnTo>
                  <a:pt x="397" y="147"/>
                </a:lnTo>
                <a:lnTo>
                  <a:pt x="389" y="138"/>
                </a:lnTo>
                <a:lnTo>
                  <a:pt x="389" y="129"/>
                </a:lnTo>
                <a:lnTo>
                  <a:pt x="380" y="120"/>
                </a:lnTo>
                <a:lnTo>
                  <a:pt x="371" y="112"/>
                </a:lnTo>
                <a:lnTo>
                  <a:pt x="380" y="112"/>
                </a:lnTo>
                <a:lnTo>
                  <a:pt x="397" y="98"/>
                </a:lnTo>
                <a:lnTo>
                  <a:pt x="402" y="103"/>
                </a:lnTo>
                <a:lnTo>
                  <a:pt x="406" y="94"/>
                </a:lnTo>
                <a:lnTo>
                  <a:pt x="393" y="94"/>
                </a:lnTo>
                <a:lnTo>
                  <a:pt x="380" y="98"/>
                </a:lnTo>
                <a:lnTo>
                  <a:pt x="366" y="103"/>
                </a:lnTo>
                <a:lnTo>
                  <a:pt x="357" y="94"/>
                </a:lnTo>
                <a:lnTo>
                  <a:pt x="362" y="80"/>
                </a:lnTo>
                <a:lnTo>
                  <a:pt x="402" y="85"/>
                </a:lnTo>
                <a:lnTo>
                  <a:pt x="420" y="76"/>
                </a:lnTo>
                <a:lnTo>
                  <a:pt x="433" y="62"/>
                </a:lnTo>
                <a:lnTo>
                  <a:pt x="429" y="53"/>
                </a:lnTo>
                <a:lnTo>
                  <a:pt x="411" y="71"/>
                </a:lnTo>
                <a:lnTo>
                  <a:pt x="366" y="67"/>
                </a:lnTo>
                <a:close/>
                <a:moveTo>
                  <a:pt x="420" y="201"/>
                </a:moveTo>
                <a:lnTo>
                  <a:pt x="415" y="210"/>
                </a:lnTo>
                <a:lnTo>
                  <a:pt x="433" y="210"/>
                </a:lnTo>
                <a:lnTo>
                  <a:pt x="442" y="201"/>
                </a:lnTo>
                <a:lnTo>
                  <a:pt x="451" y="201"/>
                </a:lnTo>
                <a:lnTo>
                  <a:pt x="456" y="196"/>
                </a:lnTo>
                <a:lnTo>
                  <a:pt x="442" y="196"/>
                </a:lnTo>
                <a:lnTo>
                  <a:pt x="433" y="205"/>
                </a:lnTo>
                <a:lnTo>
                  <a:pt x="420" y="201"/>
                </a:lnTo>
                <a:close/>
                <a:moveTo>
                  <a:pt x="424" y="219"/>
                </a:moveTo>
                <a:lnTo>
                  <a:pt x="411" y="219"/>
                </a:lnTo>
                <a:lnTo>
                  <a:pt x="402" y="232"/>
                </a:lnTo>
                <a:lnTo>
                  <a:pt x="402" y="237"/>
                </a:lnTo>
                <a:lnTo>
                  <a:pt x="393" y="246"/>
                </a:lnTo>
                <a:lnTo>
                  <a:pt x="402" y="246"/>
                </a:lnTo>
                <a:lnTo>
                  <a:pt x="406" y="237"/>
                </a:lnTo>
                <a:lnTo>
                  <a:pt x="420" y="232"/>
                </a:lnTo>
                <a:lnTo>
                  <a:pt x="424" y="228"/>
                </a:lnTo>
                <a:lnTo>
                  <a:pt x="424" y="219"/>
                </a:lnTo>
                <a:close/>
                <a:moveTo>
                  <a:pt x="438" y="129"/>
                </a:moveTo>
                <a:lnTo>
                  <a:pt x="447" y="143"/>
                </a:lnTo>
                <a:lnTo>
                  <a:pt x="456" y="134"/>
                </a:lnTo>
                <a:lnTo>
                  <a:pt x="451" y="129"/>
                </a:lnTo>
                <a:lnTo>
                  <a:pt x="438" y="129"/>
                </a:lnTo>
                <a:close/>
                <a:moveTo>
                  <a:pt x="469" y="80"/>
                </a:moveTo>
                <a:lnTo>
                  <a:pt x="487" y="80"/>
                </a:lnTo>
                <a:lnTo>
                  <a:pt x="482" y="76"/>
                </a:lnTo>
                <a:lnTo>
                  <a:pt x="469" y="71"/>
                </a:lnTo>
                <a:lnTo>
                  <a:pt x="482" y="62"/>
                </a:lnTo>
                <a:lnTo>
                  <a:pt x="478" y="58"/>
                </a:lnTo>
                <a:lnTo>
                  <a:pt x="464" y="71"/>
                </a:lnTo>
                <a:lnTo>
                  <a:pt x="469" y="62"/>
                </a:lnTo>
                <a:lnTo>
                  <a:pt x="469" y="53"/>
                </a:lnTo>
                <a:lnTo>
                  <a:pt x="478" y="49"/>
                </a:lnTo>
                <a:lnTo>
                  <a:pt x="478" y="45"/>
                </a:lnTo>
                <a:lnTo>
                  <a:pt x="464" y="49"/>
                </a:lnTo>
                <a:lnTo>
                  <a:pt x="460" y="67"/>
                </a:lnTo>
                <a:lnTo>
                  <a:pt x="460" y="76"/>
                </a:lnTo>
                <a:lnTo>
                  <a:pt x="464" y="76"/>
                </a:lnTo>
                <a:lnTo>
                  <a:pt x="464" y="89"/>
                </a:lnTo>
                <a:lnTo>
                  <a:pt x="469" y="98"/>
                </a:lnTo>
                <a:lnTo>
                  <a:pt x="460" y="94"/>
                </a:lnTo>
                <a:lnTo>
                  <a:pt x="456" y="98"/>
                </a:lnTo>
                <a:lnTo>
                  <a:pt x="460" y="103"/>
                </a:lnTo>
                <a:lnTo>
                  <a:pt x="469" y="98"/>
                </a:lnTo>
                <a:lnTo>
                  <a:pt x="473" y="107"/>
                </a:lnTo>
                <a:lnTo>
                  <a:pt x="478" y="107"/>
                </a:lnTo>
                <a:lnTo>
                  <a:pt x="473" y="98"/>
                </a:lnTo>
                <a:lnTo>
                  <a:pt x="469" y="89"/>
                </a:lnTo>
                <a:lnTo>
                  <a:pt x="469" y="80"/>
                </a:lnTo>
                <a:close/>
                <a:moveTo>
                  <a:pt x="505" y="125"/>
                </a:moveTo>
                <a:lnTo>
                  <a:pt x="491" y="125"/>
                </a:lnTo>
                <a:lnTo>
                  <a:pt x="469" y="125"/>
                </a:lnTo>
                <a:lnTo>
                  <a:pt x="464" y="134"/>
                </a:lnTo>
                <a:lnTo>
                  <a:pt x="478" y="138"/>
                </a:lnTo>
                <a:lnTo>
                  <a:pt x="482" y="134"/>
                </a:lnTo>
                <a:lnTo>
                  <a:pt x="500" y="134"/>
                </a:lnTo>
                <a:lnTo>
                  <a:pt x="514" y="138"/>
                </a:lnTo>
                <a:lnTo>
                  <a:pt x="505" y="125"/>
                </a:lnTo>
                <a:close/>
                <a:moveTo>
                  <a:pt x="523" y="188"/>
                </a:moveTo>
                <a:lnTo>
                  <a:pt x="518" y="188"/>
                </a:lnTo>
                <a:lnTo>
                  <a:pt x="514" y="201"/>
                </a:lnTo>
                <a:lnTo>
                  <a:pt x="509" y="205"/>
                </a:lnTo>
                <a:lnTo>
                  <a:pt x="509" y="210"/>
                </a:lnTo>
                <a:lnTo>
                  <a:pt x="518" y="205"/>
                </a:lnTo>
                <a:lnTo>
                  <a:pt x="514" y="201"/>
                </a:lnTo>
                <a:lnTo>
                  <a:pt x="523" y="188"/>
                </a:lnTo>
                <a:close/>
                <a:moveTo>
                  <a:pt x="563" y="161"/>
                </a:moveTo>
                <a:lnTo>
                  <a:pt x="563" y="170"/>
                </a:lnTo>
                <a:lnTo>
                  <a:pt x="558" y="174"/>
                </a:lnTo>
                <a:lnTo>
                  <a:pt x="554" y="188"/>
                </a:lnTo>
                <a:lnTo>
                  <a:pt x="563" y="188"/>
                </a:lnTo>
                <a:lnTo>
                  <a:pt x="567" y="179"/>
                </a:lnTo>
                <a:lnTo>
                  <a:pt x="567" y="165"/>
                </a:lnTo>
                <a:lnTo>
                  <a:pt x="563" y="161"/>
                </a:lnTo>
                <a:close/>
                <a:moveTo>
                  <a:pt x="657" y="125"/>
                </a:moveTo>
                <a:lnTo>
                  <a:pt x="630" y="116"/>
                </a:lnTo>
                <a:lnTo>
                  <a:pt x="612" y="107"/>
                </a:lnTo>
                <a:lnTo>
                  <a:pt x="603" y="112"/>
                </a:lnTo>
                <a:lnTo>
                  <a:pt x="603" y="116"/>
                </a:lnTo>
                <a:lnTo>
                  <a:pt x="590" y="120"/>
                </a:lnTo>
                <a:lnTo>
                  <a:pt x="581" y="134"/>
                </a:lnTo>
                <a:lnTo>
                  <a:pt x="572" y="134"/>
                </a:lnTo>
                <a:lnTo>
                  <a:pt x="563" y="116"/>
                </a:lnTo>
                <a:lnTo>
                  <a:pt x="558" y="120"/>
                </a:lnTo>
                <a:lnTo>
                  <a:pt x="558" y="103"/>
                </a:lnTo>
                <a:lnTo>
                  <a:pt x="554" y="94"/>
                </a:lnTo>
                <a:lnTo>
                  <a:pt x="531" y="89"/>
                </a:lnTo>
                <a:lnTo>
                  <a:pt x="527" y="89"/>
                </a:lnTo>
                <a:lnTo>
                  <a:pt x="509" y="103"/>
                </a:lnTo>
                <a:lnTo>
                  <a:pt x="509" y="98"/>
                </a:lnTo>
                <a:lnTo>
                  <a:pt x="500" y="98"/>
                </a:lnTo>
                <a:lnTo>
                  <a:pt x="509" y="107"/>
                </a:lnTo>
                <a:lnTo>
                  <a:pt x="518" y="107"/>
                </a:lnTo>
                <a:lnTo>
                  <a:pt x="523" y="116"/>
                </a:lnTo>
                <a:lnTo>
                  <a:pt x="549" y="112"/>
                </a:lnTo>
                <a:lnTo>
                  <a:pt x="554" y="120"/>
                </a:lnTo>
                <a:lnTo>
                  <a:pt x="540" y="120"/>
                </a:lnTo>
                <a:lnTo>
                  <a:pt x="536" y="125"/>
                </a:lnTo>
                <a:lnTo>
                  <a:pt x="527" y="120"/>
                </a:lnTo>
                <a:lnTo>
                  <a:pt x="523" y="129"/>
                </a:lnTo>
                <a:lnTo>
                  <a:pt x="536" y="129"/>
                </a:lnTo>
                <a:lnTo>
                  <a:pt x="536" y="138"/>
                </a:lnTo>
                <a:lnTo>
                  <a:pt x="540" y="147"/>
                </a:lnTo>
                <a:lnTo>
                  <a:pt x="545" y="147"/>
                </a:lnTo>
                <a:lnTo>
                  <a:pt x="549" y="129"/>
                </a:lnTo>
                <a:lnTo>
                  <a:pt x="554" y="138"/>
                </a:lnTo>
                <a:lnTo>
                  <a:pt x="612" y="165"/>
                </a:lnTo>
                <a:lnTo>
                  <a:pt x="621" y="188"/>
                </a:lnTo>
                <a:lnTo>
                  <a:pt x="625" y="192"/>
                </a:lnTo>
                <a:lnTo>
                  <a:pt x="625" y="196"/>
                </a:lnTo>
                <a:lnTo>
                  <a:pt x="621" y="192"/>
                </a:lnTo>
                <a:lnTo>
                  <a:pt x="607" y="210"/>
                </a:lnTo>
                <a:lnTo>
                  <a:pt x="625" y="210"/>
                </a:lnTo>
                <a:lnTo>
                  <a:pt x="630" y="201"/>
                </a:lnTo>
                <a:lnTo>
                  <a:pt x="643" y="201"/>
                </a:lnTo>
                <a:lnTo>
                  <a:pt x="652" y="214"/>
                </a:lnTo>
                <a:lnTo>
                  <a:pt x="657" y="214"/>
                </a:lnTo>
                <a:lnTo>
                  <a:pt x="657" y="125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5" name="Freeform 156"/>
          <p:cNvSpPr>
            <a:spLocks/>
          </p:cNvSpPr>
          <p:nvPr/>
        </p:nvSpPr>
        <p:spPr bwMode="gray">
          <a:xfrm>
            <a:off x="2286643" y="4326953"/>
            <a:ext cx="379202" cy="304487"/>
          </a:xfrm>
          <a:custGeom>
            <a:avLst/>
            <a:gdLst>
              <a:gd name="T0" fmla="*/ 0 w 277"/>
              <a:gd name="T1" fmla="*/ 9 h 250"/>
              <a:gd name="T2" fmla="*/ 14 w 277"/>
              <a:gd name="T3" fmla="*/ 40 h 250"/>
              <a:gd name="T4" fmla="*/ 23 w 277"/>
              <a:gd name="T5" fmla="*/ 71 h 250"/>
              <a:gd name="T6" fmla="*/ 32 w 277"/>
              <a:gd name="T7" fmla="*/ 80 h 250"/>
              <a:gd name="T8" fmla="*/ 32 w 277"/>
              <a:gd name="T9" fmla="*/ 120 h 250"/>
              <a:gd name="T10" fmla="*/ 54 w 277"/>
              <a:gd name="T11" fmla="*/ 152 h 250"/>
              <a:gd name="T12" fmla="*/ 63 w 277"/>
              <a:gd name="T13" fmla="*/ 165 h 250"/>
              <a:gd name="T14" fmla="*/ 72 w 277"/>
              <a:gd name="T15" fmla="*/ 165 h 250"/>
              <a:gd name="T16" fmla="*/ 90 w 277"/>
              <a:gd name="T17" fmla="*/ 165 h 250"/>
              <a:gd name="T18" fmla="*/ 99 w 277"/>
              <a:gd name="T19" fmla="*/ 187 h 250"/>
              <a:gd name="T20" fmla="*/ 108 w 277"/>
              <a:gd name="T21" fmla="*/ 201 h 250"/>
              <a:gd name="T22" fmla="*/ 121 w 277"/>
              <a:gd name="T23" fmla="*/ 214 h 250"/>
              <a:gd name="T24" fmla="*/ 157 w 277"/>
              <a:gd name="T25" fmla="*/ 228 h 250"/>
              <a:gd name="T26" fmla="*/ 161 w 277"/>
              <a:gd name="T27" fmla="*/ 228 h 250"/>
              <a:gd name="T28" fmla="*/ 170 w 277"/>
              <a:gd name="T29" fmla="*/ 219 h 250"/>
              <a:gd name="T30" fmla="*/ 188 w 277"/>
              <a:gd name="T31" fmla="*/ 219 h 250"/>
              <a:gd name="T32" fmla="*/ 192 w 277"/>
              <a:gd name="T33" fmla="*/ 241 h 250"/>
              <a:gd name="T34" fmla="*/ 224 w 277"/>
              <a:gd name="T35" fmla="*/ 250 h 250"/>
              <a:gd name="T36" fmla="*/ 255 w 277"/>
              <a:gd name="T37" fmla="*/ 245 h 250"/>
              <a:gd name="T38" fmla="*/ 264 w 277"/>
              <a:gd name="T39" fmla="*/ 228 h 250"/>
              <a:gd name="T40" fmla="*/ 277 w 277"/>
              <a:gd name="T41" fmla="*/ 214 h 250"/>
              <a:gd name="T42" fmla="*/ 268 w 277"/>
              <a:gd name="T43" fmla="*/ 201 h 250"/>
              <a:gd name="T44" fmla="*/ 242 w 277"/>
              <a:gd name="T45" fmla="*/ 178 h 250"/>
              <a:gd name="T46" fmla="*/ 246 w 277"/>
              <a:gd name="T47" fmla="*/ 161 h 250"/>
              <a:gd name="T48" fmla="*/ 251 w 277"/>
              <a:gd name="T49" fmla="*/ 143 h 250"/>
              <a:gd name="T50" fmla="*/ 242 w 277"/>
              <a:gd name="T51" fmla="*/ 107 h 250"/>
              <a:gd name="T52" fmla="*/ 246 w 277"/>
              <a:gd name="T53" fmla="*/ 71 h 250"/>
              <a:gd name="T54" fmla="*/ 233 w 277"/>
              <a:gd name="T55" fmla="*/ 53 h 250"/>
              <a:gd name="T56" fmla="*/ 197 w 277"/>
              <a:gd name="T57" fmla="*/ 31 h 250"/>
              <a:gd name="T58" fmla="*/ 179 w 277"/>
              <a:gd name="T59" fmla="*/ 31 h 250"/>
              <a:gd name="T60" fmla="*/ 157 w 277"/>
              <a:gd name="T61" fmla="*/ 40 h 250"/>
              <a:gd name="T62" fmla="*/ 148 w 277"/>
              <a:gd name="T63" fmla="*/ 53 h 250"/>
              <a:gd name="T64" fmla="*/ 139 w 277"/>
              <a:gd name="T65" fmla="*/ 49 h 250"/>
              <a:gd name="T66" fmla="*/ 94 w 277"/>
              <a:gd name="T67" fmla="*/ 53 h 250"/>
              <a:gd name="T68" fmla="*/ 76 w 277"/>
              <a:gd name="T69" fmla="*/ 40 h 250"/>
              <a:gd name="T70" fmla="*/ 63 w 277"/>
              <a:gd name="T71" fmla="*/ 18 h 250"/>
              <a:gd name="T72" fmla="*/ 58 w 277"/>
              <a:gd name="T73" fmla="*/ 0 h 250"/>
              <a:gd name="T74" fmla="*/ 36 w 277"/>
              <a:gd name="T75" fmla="*/ 18 h 250"/>
              <a:gd name="T76" fmla="*/ 27 w 277"/>
              <a:gd name="T77" fmla="*/ 13 h 25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77"/>
              <a:gd name="T118" fmla="*/ 0 h 250"/>
              <a:gd name="T119" fmla="*/ 277 w 277"/>
              <a:gd name="T120" fmla="*/ 250 h 25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77" h="250">
                <a:moveTo>
                  <a:pt x="9" y="0"/>
                </a:moveTo>
                <a:lnTo>
                  <a:pt x="0" y="9"/>
                </a:lnTo>
                <a:lnTo>
                  <a:pt x="5" y="35"/>
                </a:lnTo>
                <a:lnTo>
                  <a:pt x="14" y="40"/>
                </a:lnTo>
                <a:lnTo>
                  <a:pt x="14" y="44"/>
                </a:lnTo>
                <a:lnTo>
                  <a:pt x="23" y="71"/>
                </a:lnTo>
                <a:lnTo>
                  <a:pt x="32" y="71"/>
                </a:lnTo>
                <a:lnTo>
                  <a:pt x="32" y="80"/>
                </a:lnTo>
                <a:lnTo>
                  <a:pt x="23" y="98"/>
                </a:lnTo>
                <a:lnTo>
                  <a:pt x="32" y="120"/>
                </a:lnTo>
                <a:lnTo>
                  <a:pt x="54" y="138"/>
                </a:lnTo>
                <a:lnTo>
                  <a:pt x="54" y="152"/>
                </a:lnTo>
                <a:lnTo>
                  <a:pt x="58" y="156"/>
                </a:lnTo>
                <a:lnTo>
                  <a:pt x="63" y="165"/>
                </a:lnTo>
                <a:lnTo>
                  <a:pt x="67" y="169"/>
                </a:lnTo>
                <a:lnTo>
                  <a:pt x="72" y="165"/>
                </a:lnTo>
                <a:lnTo>
                  <a:pt x="81" y="169"/>
                </a:lnTo>
                <a:lnTo>
                  <a:pt x="90" y="165"/>
                </a:lnTo>
                <a:lnTo>
                  <a:pt x="103" y="187"/>
                </a:lnTo>
                <a:lnTo>
                  <a:pt x="99" y="187"/>
                </a:lnTo>
                <a:lnTo>
                  <a:pt x="103" y="192"/>
                </a:lnTo>
                <a:lnTo>
                  <a:pt x="108" y="201"/>
                </a:lnTo>
                <a:lnTo>
                  <a:pt x="121" y="210"/>
                </a:lnTo>
                <a:lnTo>
                  <a:pt x="121" y="214"/>
                </a:lnTo>
                <a:lnTo>
                  <a:pt x="139" y="223"/>
                </a:lnTo>
                <a:lnTo>
                  <a:pt x="157" y="228"/>
                </a:lnTo>
                <a:lnTo>
                  <a:pt x="161" y="223"/>
                </a:lnTo>
                <a:lnTo>
                  <a:pt x="161" y="228"/>
                </a:lnTo>
                <a:lnTo>
                  <a:pt x="179" y="219"/>
                </a:lnTo>
                <a:lnTo>
                  <a:pt x="170" y="219"/>
                </a:lnTo>
                <a:lnTo>
                  <a:pt x="175" y="214"/>
                </a:lnTo>
                <a:lnTo>
                  <a:pt x="188" y="219"/>
                </a:lnTo>
                <a:lnTo>
                  <a:pt x="188" y="223"/>
                </a:lnTo>
                <a:lnTo>
                  <a:pt x="192" y="241"/>
                </a:lnTo>
                <a:lnTo>
                  <a:pt x="206" y="245"/>
                </a:lnTo>
                <a:lnTo>
                  <a:pt x="224" y="250"/>
                </a:lnTo>
                <a:lnTo>
                  <a:pt x="251" y="250"/>
                </a:lnTo>
                <a:lnTo>
                  <a:pt x="255" y="245"/>
                </a:lnTo>
                <a:lnTo>
                  <a:pt x="255" y="236"/>
                </a:lnTo>
                <a:lnTo>
                  <a:pt x="264" y="228"/>
                </a:lnTo>
                <a:lnTo>
                  <a:pt x="277" y="223"/>
                </a:lnTo>
                <a:lnTo>
                  <a:pt x="277" y="214"/>
                </a:lnTo>
                <a:lnTo>
                  <a:pt x="268" y="214"/>
                </a:lnTo>
                <a:lnTo>
                  <a:pt x="268" y="201"/>
                </a:lnTo>
                <a:lnTo>
                  <a:pt x="255" y="196"/>
                </a:lnTo>
                <a:lnTo>
                  <a:pt x="242" y="178"/>
                </a:lnTo>
                <a:lnTo>
                  <a:pt x="242" y="174"/>
                </a:lnTo>
                <a:lnTo>
                  <a:pt x="246" y="161"/>
                </a:lnTo>
                <a:lnTo>
                  <a:pt x="255" y="156"/>
                </a:lnTo>
                <a:lnTo>
                  <a:pt x="251" y="143"/>
                </a:lnTo>
                <a:lnTo>
                  <a:pt x="242" y="143"/>
                </a:lnTo>
                <a:lnTo>
                  <a:pt x="242" y="107"/>
                </a:lnTo>
                <a:lnTo>
                  <a:pt x="237" y="98"/>
                </a:lnTo>
                <a:lnTo>
                  <a:pt x="246" y="71"/>
                </a:lnTo>
                <a:lnTo>
                  <a:pt x="246" y="53"/>
                </a:lnTo>
                <a:lnTo>
                  <a:pt x="233" y="53"/>
                </a:lnTo>
                <a:lnTo>
                  <a:pt x="219" y="35"/>
                </a:lnTo>
                <a:lnTo>
                  <a:pt x="197" y="31"/>
                </a:lnTo>
                <a:lnTo>
                  <a:pt x="188" y="22"/>
                </a:lnTo>
                <a:lnTo>
                  <a:pt x="179" y="31"/>
                </a:lnTo>
                <a:lnTo>
                  <a:pt x="166" y="31"/>
                </a:lnTo>
                <a:lnTo>
                  <a:pt x="157" y="40"/>
                </a:lnTo>
                <a:lnTo>
                  <a:pt x="148" y="44"/>
                </a:lnTo>
                <a:lnTo>
                  <a:pt x="148" y="53"/>
                </a:lnTo>
                <a:lnTo>
                  <a:pt x="139" y="53"/>
                </a:lnTo>
                <a:lnTo>
                  <a:pt x="139" y="49"/>
                </a:lnTo>
                <a:lnTo>
                  <a:pt x="108" y="58"/>
                </a:lnTo>
                <a:lnTo>
                  <a:pt x="94" y="53"/>
                </a:lnTo>
                <a:lnTo>
                  <a:pt x="90" y="44"/>
                </a:lnTo>
                <a:lnTo>
                  <a:pt x="76" y="40"/>
                </a:lnTo>
                <a:lnTo>
                  <a:pt x="76" y="26"/>
                </a:lnTo>
                <a:lnTo>
                  <a:pt x="63" y="18"/>
                </a:lnTo>
                <a:lnTo>
                  <a:pt x="63" y="4"/>
                </a:lnTo>
                <a:lnTo>
                  <a:pt x="58" y="0"/>
                </a:lnTo>
                <a:lnTo>
                  <a:pt x="36" y="13"/>
                </a:lnTo>
                <a:lnTo>
                  <a:pt x="36" y="18"/>
                </a:lnTo>
                <a:lnTo>
                  <a:pt x="32" y="18"/>
                </a:lnTo>
                <a:lnTo>
                  <a:pt x="27" y="13"/>
                </a:lnTo>
                <a:lnTo>
                  <a:pt x="9" y="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6" name="Freeform 157"/>
          <p:cNvSpPr>
            <a:spLocks/>
          </p:cNvSpPr>
          <p:nvPr/>
        </p:nvSpPr>
        <p:spPr bwMode="gray">
          <a:xfrm>
            <a:off x="2182602" y="4380543"/>
            <a:ext cx="190285" cy="174166"/>
          </a:xfrm>
          <a:custGeom>
            <a:avLst/>
            <a:gdLst>
              <a:gd name="T0" fmla="*/ 0 w 139"/>
              <a:gd name="T1" fmla="*/ 72 h 143"/>
              <a:gd name="T2" fmla="*/ 9 w 139"/>
              <a:gd name="T3" fmla="*/ 90 h 143"/>
              <a:gd name="T4" fmla="*/ 32 w 139"/>
              <a:gd name="T5" fmla="*/ 94 h 143"/>
              <a:gd name="T6" fmla="*/ 63 w 139"/>
              <a:gd name="T7" fmla="*/ 117 h 143"/>
              <a:gd name="T8" fmla="*/ 63 w 139"/>
              <a:gd name="T9" fmla="*/ 125 h 143"/>
              <a:gd name="T10" fmla="*/ 72 w 139"/>
              <a:gd name="T11" fmla="*/ 125 h 143"/>
              <a:gd name="T12" fmla="*/ 72 w 139"/>
              <a:gd name="T13" fmla="*/ 139 h 143"/>
              <a:gd name="T14" fmla="*/ 85 w 139"/>
              <a:gd name="T15" fmla="*/ 143 h 143"/>
              <a:gd name="T16" fmla="*/ 112 w 139"/>
              <a:gd name="T17" fmla="*/ 143 h 143"/>
              <a:gd name="T18" fmla="*/ 121 w 139"/>
              <a:gd name="T19" fmla="*/ 139 h 143"/>
              <a:gd name="T20" fmla="*/ 121 w 139"/>
              <a:gd name="T21" fmla="*/ 130 h 143"/>
              <a:gd name="T22" fmla="*/ 134 w 139"/>
              <a:gd name="T23" fmla="*/ 125 h 143"/>
              <a:gd name="T24" fmla="*/ 134 w 139"/>
              <a:gd name="T25" fmla="*/ 125 h 143"/>
              <a:gd name="T26" fmla="*/ 139 w 139"/>
              <a:gd name="T27" fmla="*/ 125 h 143"/>
              <a:gd name="T28" fmla="*/ 139 w 139"/>
              <a:gd name="T29" fmla="*/ 121 h 143"/>
              <a:gd name="T30" fmla="*/ 134 w 139"/>
              <a:gd name="T31" fmla="*/ 112 h 143"/>
              <a:gd name="T32" fmla="*/ 130 w 139"/>
              <a:gd name="T33" fmla="*/ 108 h 143"/>
              <a:gd name="T34" fmla="*/ 130 w 139"/>
              <a:gd name="T35" fmla="*/ 94 h 143"/>
              <a:gd name="T36" fmla="*/ 108 w 139"/>
              <a:gd name="T37" fmla="*/ 76 h 143"/>
              <a:gd name="T38" fmla="*/ 99 w 139"/>
              <a:gd name="T39" fmla="*/ 54 h 143"/>
              <a:gd name="T40" fmla="*/ 108 w 139"/>
              <a:gd name="T41" fmla="*/ 36 h 143"/>
              <a:gd name="T42" fmla="*/ 108 w 139"/>
              <a:gd name="T43" fmla="*/ 27 h 143"/>
              <a:gd name="T44" fmla="*/ 99 w 139"/>
              <a:gd name="T45" fmla="*/ 27 h 143"/>
              <a:gd name="T46" fmla="*/ 90 w 139"/>
              <a:gd name="T47" fmla="*/ 0 h 143"/>
              <a:gd name="T48" fmla="*/ 81 w 139"/>
              <a:gd name="T49" fmla="*/ 5 h 143"/>
              <a:gd name="T50" fmla="*/ 63 w 139"/>
              <a:gd name="T51" fmla="*/ 0 h 143"/>
              <a:gd name="T52" fmla="*/ 58 w 139"/>
              <a:gd name="T53" fmla="*/ 5 h 143"/>
              <a:gd name="T54" fmla="*/ 54 w 139"/>
              <a:gd name="T55" fmla="*/ 9 h 143"/>
              <a:gd name="T56" fmla="*/ 41 w 139"/>
              <a:gd name="T57" fmla="*/ 18 h 143"/>
              <a:gd name="T58" fmla="*/ 36 w 139"/>
              <a:gd name="T59" fmla="*/ 45 h 143"/>
              <a:gd name="T60" fmla="*/ 0 w 139"/>
              <a:gd name="T61" fmla="*/ 72 h 14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39"/>
              <a:gd name="T94" fmla="*/ 0 h 143"/>
              <a:gd name="T95" fmla="*/ 139 w 139"/>
              <a:gd name="T96" fmla="*/ 143 h 14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39" h="143">
                <a:moveTo>
                  <a:pt x="0" y="72"/>
                </a:moveTo>
                <a:lnTo>
                  <a:pt x="9" y="90"/>
                </a:lnTo>
                <a:lnTo>
                  <a:pt x="32" y="94"/>
                </a:lnTo>
                <a:lnTo>
                  <a:pt x="63" y="117"/>
                </a:lnTo>
                <a:lnTo>
                  <a:pt x="63" y="125"/>
                </a:lnTo>
                <a:lnTo>
                  <a:pt x="72" y="125"/>
                </a:lnTo>
                <a:lnTo>
                  <a:pt x="72" y="139"/>
                </a:lnTo>
                <a:lnTo>
                  <a:pt x="85" y="143"/>
                </a:lnTo>
                <a:lnTo>
                  <a:pt x="112" y="143"/>
                </a:lnTo>
                <a:lnTo>
                  <a:pt x="121" y="139"/>
                </a:lnTo>
                <a:lnTo>
                  <a:pt x="121" y="130"/>
                </a:lnTo>
                <a:lnTo>
                  <a:pt x="134" y="125"/>
                </a:lnTo>
                <a:lnTo>
                  <a:pt x="139" y="125"/>
                </a:lnTo>
                <a:lnTo>
                  <a:pt x="139" y="121"/>
                </a:lnTo>
                <a:lnTo>
                  <a:pt x="134" y="112"/>
                </a:lnTo>
                <a:lnTo>
                  <a:pt x="130" y="108"/>
                </a:lnTo>
                <a:lnTo>
                  <a:pt x="130" y="94"/>
                </a:lnTo>
                <a:lnTo>
                  <a:pt x="108" y="76"/>
                </a:lnTo>
                <a:lnTo>
                  <a:pt x="99" y="54"/>
                </a:lnTo>
                <a:lnTo>
                  <a:pt x="108" y="36"/>
                </a:lnTo>
                <a:lnTo>
                  <a:pt x="108" y="27"/>
                </a:lnTo>
                <a:lnTo>
                  <a:pt x="99" y="27"/>
                </a:lnTo>
                <a:lnTo>
                  <a:pt x="90" y="0"/>
                </a:lnTo>
                <a:lnTo>
                  <a:pt x="81" y="5"/>
                </a:lnTo>
                <a:lnTo>
                  <a:pt x="63" y="0"/>
                </a:lnTo>
                <a:lnTo>
                  <a:pt x="58" y="5"/>
                </a:lnTo>
                <a:lnTo>
                  <a:pt x="54" y="9"/>
                </a:lnTo>
                <a:lnTo>
                  <a:pt x="41" y="18"/>
                </a:lnTo>
                <a:lnTo>
                  <a:pt x="36" y="45"/>
                </a:lnTo>
                <a:lnTo>
                  <a:pt x="0" y="72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7" name="Freeform 158"/>
          <p:cNvSpPr>
            <a:spLocks/>
          </p:cNvSpPr>
          <p:nvPr/>
        </p:nvSpPr>
        <p:spPr bwMode="gray">
          <a:xfrm>
            <a:off x="2097726" y="4462145"/>
            <a:ext cx="30117" cy="81602"/>
          </a:xfrm>
          <a:custGeom>
            <a:avLst/>
            <a:gdLst>
              <a:gd name="T0" fmla="*/ 0 w 22"/>
              <a:gd name="T1" fmla="*/ 32 h 67"/>
              <a:gd name="T2" fmla="*/ 4 w 22"/>
              <a:gd name="T3" fmla="*/ 36 h 67"/>
              <a:gd name="T4" fmla="*/ 0 w 22"/>
              <a:gd name="T5" fmla="*/ 45 h 67"/>
              <a:gd name="T6" fmla="*/ 9 w 22"/>
              <a:gd name="T7" fmla="*/ 67 h 67"/>
              <a:gd name="T8" fmla="*/ 13 w 22"/>
              <a:gd name="T9" fmla="*/ 63 h 67"/>
              <a:gd name="T10" fmla="*/ 18 w 22"/>
              <a:gd name="T11" fmla="*/ 41 h 67"/>
              <a:gd name="T12" fmla="*/ 18 w 22"/>
              <a:gd name="T13" fmla="*/ 27 h 67"/>
              <a:gd name="T14" fmla="*/ 13 w 22"/>
              <a:gd name="T15" fmla="*/ 23 h 67"/>
              <a:gd name="T16" fmla="*/ 13 w 22"/>
              <a:gd name="T17" fmla="*/ 23 h 67"/>
              <a:gd name="T18" fmla="*/ 22 w 22"/>
              <a:gd name="T19" fmla="*/ 14 h 67"/>
              <a:gd name="T20" fmla="*/ 22 w 22"/>
              <a:gd name="T21" fmla="*/ 0 h 67"/>
              <a:gd name="T22" fmla="*/ 13 w 22"/>
              <a:gd name="T23" fmla="*/ 5 h 67"/>
              <a:gd name="T24" fmla="*/ 9 w 22"/>
              <a:gd name="T25" fmla="*/ 5 h 67"/>
              <a:gd name="T26" fmla="*/ 4 w 22"/>
              <a:gd name="T27" fmla="*/ 5 h 67"/>
              <a:gd name="T28" fmla="*/ 4 w 22"/>
              <a:gd name="T29" fmla="*/ 9 h 67"/>
              <a:gd name="T30" fmla="*/ 0 w 22"/>
              <a:gd name="T31" fmla="*/ 32 h 6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2"/>
              <a:gd name="T49" fmla="*/ 0 h 67"/>
              <a:gd name="T50" fmla="*/ 22 w 22"/>
              <a:gd name="T51" fmla="*/ 67 h 6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2" h="67">
                <a:moveTo>
                  <a:pt x="0" y="32"/>
                </a:moveTo>
                <a:lnTo>
                  <a:pt x="4" y="36"/>
                </a:lnTo>
                <a:lnTo>
                  <a:pt x="0" y="45"/>
                </a:lnTo>
                <a:lnTo>
                  <a:pt x="9" y="67"/>
                </a:lnTo>
                <a:lnTo>
                  <a:pt x="13" y="63"/>
                </a:lnTo>
                <a:lnTo>
                  <a:pt x="18" y="41"/>
                </a:lnTo>
                <a:lnTo>
                  <a:pt x="18" y="27"/>
                </a:lnTo>
                <a:lnTo>
                  <a:pt x="13" y="23"/>
                </a:lnTo>
                <a:lnTo>
                  <a:pt x="22" y="14"/>
                </a:lnTo>
                <a:lnTo>
                  <a:pt x="22" y="0"/>
                </a:lnTo>
                <a:lnTo>
                  <a:pt x="13" y="5"/>
                </a:lnTo>
                <a:lnTo>
                  <a:pt x="9" y="5"/>
                </a:lnTo>
                <a:lnTo>
                  <a:pt x="4" y="5"/>
                </a:lnTo>
                <a:lnTo>
                  <a:pt x="4" y="9"/>
                </a:lnTo>
                <a:lnTo>
                  <a:pt x="0" y="32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8" name="Freeform 159"/>
          <p:cNvSpPr>
            <a:spLocks noEditPoints="1"/>
          </p:cNvSpPr>
          <p:nvPr/>
        </p:nvSpPr>
        <p:spPr bwMode="gray">
          <a:xfrm>
            <a:off x="3840412" y="4184453"/>
            <a:ext cx="433960" cy="462820"/>
          </a:xfrm>
          <a:custGeom>
            <a:avLst/>
            <a:gdLst>
              <a:gd name="T0" fmla="*/ 0 w 317"/>
              <a:gd name="T1" fmla="*/ 380 h 380"/>
              <a:gd name="T2" fmla="*/ 13 w 317"/>
              <a:gd name="T3" fmla="*/ 380 h 380"/>
              <a:gd name="T4" fmla="*/ 9 w 317"/>
              <a:gd name="T5" fmla="*/ 380 h 380"/>
              <a:gd name="T6" fmla="*/ 27 w 317"/>
              <a:gd name="T7" fmla="*/ 376 h 380"/>
              <a:gd name="T8" fmla="*/ 27 w 317"/>
              <a:gd name="T9" fmla="*/ 367 h 380"/>
              <a:gd name="T10" fmla="*/ 58 w 317"/>
              <a:gd name="T11" fmla="*/ 349 h 380"/>
              <a:gd name="T12" fmla="*/ 71 w 317"/>
              <a:gd name="T13" fmla="*/ 340 h 380"/>
              <a:gd name="T14" fmla="*/ 80 w 317"/>
              <a:gd name="T15" fmla="*/ 331 h 380"/>
              <a:gd name="T16" fmla="*/ 76 w 317"/>
              <a:gd name="T17" fmla="*/ 322 h 380"/>
              <a:gd name="T18" fmla="*/ 116 w 317"/>
              <a:gd name="T19" fmla="*/ 228 h 380"/>
              <a:gd name="T20" fmla="*/ 107 w 317"/>
              <a:gd name="T21" fmla="*/ 219 h 380"/>
              <a:gd name="T22" fmla="*/ 85 w 317"/>
              <a:gd name="T23" fmla="*/ 233 h 380"/>
              <a:gd name="T24" fmla="*/ 98 w 317"/>
              <a:gd name="T25" fmla="*/ 251 h 380"/>
              <a:gd name="T26" fmla="*/ 116 w 317"/>
              <a:gd name="T27" fmla="*/ 264 h 380"/>
              <a:gd name="T28" fmla="*/ 174 w 317"/>
              <a:gd name="T29" fmla="*/ 193 h 380"/>
              <a:gd name="T30" fmla="*/ 161 w 317"/>
              <a:gd name="T31" fmla="*/ 188 h 380"/>
              <a:gd name="T32" fmla="*/ 116 w 317"/>
              <a:gd name="T33" fmla="*/ 202 h 380"/>
              <a:gd name="T34" fmla="*/ 112 w 317"/>
              <a:gd name="T35" fmla="*/ 219 h 380"/>
              <a:gd name="T36" fmla="*/ 129 w 317"/>
              <a:gd name="T37" fmla="*/ 215 h 380"/>
              <a:gd name="T38" fmla="*/ 125 w 317"/>
              <a:gd name="T39" fmla="*/ 233 h 380"/>
              <a:gd name="T40" fmla="*/ 143 w 317"/>
              <a:gd name="T41" fmla="*/ 224 h 380"/>
              <a:gd name="T42" fmla="*/ 152 w 317"/>
              <a:gd name="T43" fmla="*/ 215 h 380"/>
              <a:gd name="T44" fmla="*/ 134 w 317"/>
              <a:gd name="T45" fmla="*/ 219 h 380"/>
              <a:gd name="T46" fmla="*/ 161 w 317"/>
              <a:gd name="T47" fmla="*/ 210 h 380"/>
              <a:gd name="T48" fmla="*/ 170 w 317"/>
              <a:gd name="T49" fmla="*/ 215 h 380"/>
              <a:gd name="T50" fmla="*/ 183 w 317"/>
              <a:gd name="T51" fmla="*/ 215 h 380"/>
              <a:gd name="T52" fmla="*/ 214 w 317"/>
              <a:gd name="T53" fmla="*/ 197 h 380"/>
              <a:gd name="T54" fmla="*/ 223 w 317"/>
              <a:gd name="T55" fmla="*/ 210 h 380"/>
              <a:gd name="T56" fmla="*/ 232 w 317"/>
              <a:gd name="T57" fmla="*/ 197 h 380"/>
              <a:gd name="T58" fmla="*/ 246 w 317"/>
              <a:gd name="T59" fmla="*/ 188 h 380"/>
              <a:gd name="T60" fmla="*/ 250 w 317"/>
              <a:gd name="T61" fmla="*/ 170 h 380"/>
              <a:gd name="T62" fmla="*/ 255 w 317"/>
              <a:gd name="T63" fmla="*/ 139 h 380"/>
              <a:gd name="T64" fmla="*/ 259 w 317"/>
              <a:gd name="T65" fmla="*/ 135 h 380"/>
              <a:gd name="T66" fmla="*/ 255 w 317"/>
              <a:gd name="T67" fmla="*/ 94 h 380"/>
              <a:gd name="T68" fmla="*/ 250 w 317"/>
              <a:gd name="T69" fmla="*/ 85 h 380"/>
              <a:gd name="T70" fmla="*/ 241 w 317"/>
              <a:gd name="T71" fmla="*/ 85 h 380"/>
              <a:gd name="T72" fmla="*/ 228 w 317"/>
              <a:gd name="T73" fmla="*/ 112 h 380"/>
              <a:gd name="T74" fmla="*/ 232 w 317"/>
              <a:gd name="T75" fmla="*/ 130 h 380"/>
              <a:gd name="T76" fmla="*/ 192 w 317"/>
              <a:gd name="T77" fmla="*/ 161 h 380"/>
              <a:gd name="T78" fmla="*/ 188 w 317"/>
              <a:gd name="T79" fmla="*/ 161 h 380"/>
              <a:gd name="T80" fmla="*/ 179 w 317"/>
              <a:gd name="T81" fmla="*/ 184 h 380"/>
              <a:gd name="T82" fmla="*/ 255 w 317"/>
              <a:gd name="T83" fmla="*/ 41 h 380"/>
              <a:gd name="T84" fmla="*/ 241 w 317"/>
              <a:gd name="T85" fmla="*/ 45 h 380"/>
              <a:gd name="T86" fmla="*/ 232 w 317"/>
              <a:gd name="T87" fmla="*/ 63 h 380"/>
              <a:gd name="T88" fmla="*/ 241 w 317"/>
              <a:gd name="T89" fmla="*/ 81 h 380"/>
              <a:gd name="T90" fmla="*/ 255 w 317"/>
              <a:gd name="T91" fmla="*/ 72 h 380"/>
              <a:gd name="T92" fmla="*/ 250 w 317"/>
              <a:gd name="T93" fmla="*/ 59 h 380"/>
              <a:gd name="T94" fmla="*/ 255 w 317"/>
              <a:gd name="T95" fmla="*/ 59 h 380"/>
              <a:gd name="T96" fmla="*/ 286 w 317"/>
              <a:gd name="T97" fmla="*/ 72 h 380"/>
              <a:gd name="T98" fmla="*/ 308 w 317"/>
              <a:gd name="T99" fmla="*/ 50 h 380"/>
              <a:gd name="T100" fmla="*/ 308 w 317"/>
              <a:gd name="T101" fmla="*/ 32 h 380"/>
              <a:gd name="T102" fmla="*/ 299 w 317"/>
              <a:gd name="T103" fmla="*/ 32 h 380"/>
              <a:gd name="T104" fmla="*/ 255 w 317"/>
              <a:gd name="T105" fmla="*/ 5 h 380"/>
              <a:gd name="T106" fmla="*/ 259 w 317"/>
              <a:gd name="T107" fmla="*/ 32 h 38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17"/>
              <a:gd name="T163" fmla="*/ 0 h 380"/>
              <a:gd name="T164" fmla="*/ 317 w 317"/>
              <a:gd name="T165" fmla="*/ 380 h 38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17" h="380">
                <a:moveTo>
                  <a:pt x="9" y="380"/>
                </a:moveTo>
                <a:lnTo>
                  <a:pt x="4" y="376"/>
                </a:lnTo>
                <a:lnTo>
                  <a:pt x="0" y="380"/>
                </a:lnTo>
                <a:lnTo>
                  <a:pt x="4" y="380"/>
                </a:lnTo>
                <a:lnTo>
                  <a:pt x="9" y="380"/>
                </a:lnTo>
                <a:lnTo>
                  <a:pt x="13" y="380"/>
                </a:lnTo>
                <a:lnTo>
                  <a:pt x="18" y="376"/>
                </a:lnTo>
                <a:lnTo>
                  <a:pt x="9" y="376"/>
                </a:lnTo>
                <a:lnTo>
                  <a:pt x="9" y="380"/>
                </a:lnTo>
                <a:close/>
                <a:moveTo>
                  <a:pt x="27" y="367"/>
                </a:moveTo>
                <a:lnTo>
                  <a:pt x="22" y="371"/>
                </a:lnTo>
                <a:lnTo>
                  <a:pt x="27" y="376"/>
                </a:lnTo>
                <a:lnTo>
                  <a:pt x="31" y="380"/>
                </a:lnTo>
                <a:lnTo>
                  <a:pt x="31" y="376"/>
                </a:lnTo>
                <a:lnTo>
                  <a:pt x="27" y="367"/>
                </a:lnTo>
                <a:close/>
                <a:moveTo>
                  <a:pt x="67" y="336"/>
                </a:moveTo>
                <a:lnTo>
                  <a:pt x="67" y="340"/>
                </a:lnTo>
                <a:lnTo>
                  <a:pt x="58" y="349"/>
                </a:lnTo>
                <a:lnTo>
                  <a:pt x="62" y="353"/>
                </a:lnTo>
                <a:lnTo>
                  <a:pt x="71" y="349"/>
                </a:lnTo>
                <a:lnTo>
                  <a:pt x="71" y="340"/>
                </a:lnTo>
                <a:lnTo>
                  <a:pt x="67" y="336"/>
                </a:lnTo>
                <a:close/>
                <a:moveTo>
                  <a:pt x="76" y="322"/>
                </a:moveTo>
                <a:lnTo>
                  <a:pt x="80" y="331"/>
                </a:lnTo>
                <a:lnTo>
                  <a:pt x="85" y="322"/>
                </a:lnTo>
                <a:lnTo>
                  <a:pt x="89" y="313"/>
                </a:lnTo>
                <a:lnTo>
                  <a:pt x="76" y="322"/>
                </a:lnTo>
                <a:close/>
                <a:moveTo>
                  <a:pt x="116" y="242"/>
                </a:moveTo>
                <a:lnTo>
                  <a:pt x="121" y="237"/>
                </a:lnTo>
                <a:lnTo>
                  <a:pt x="116" y="228"/>
                </a:lnTo>
                <a:lnTo>
                  <a:pt x="112" y="233"/>
                </a:lnTo>
                <a:lnTo>
                  <a:pt x="116" y="224"/>
                </a:lnTo>
                <a:lnTo>
                  <a:pt x="107" y="219"/>
                </a:lnTo>
                <a:lnTo>
                  <a:pt x="103" y="219"/>
                </a:lnTo>
                <a:lnTo>
                  <a:pt x="89" y="224"/>
                </a:lnTo>
                <a:lnTo>
                  <a:pt x="85" y="233"/>
                </a:lnTo>
                <a:lnTo>
                  <a:pt x="94" y="242"/>
                </a:lnTo>
                <a:lnTo>
                  <a:pt x="89" y="251"/>
                </a:lnTo>
                <a:lnTo>
                  <a:pt x="98" y="251"/>
                </a:lnTo>
                <a:lnTo>
                  <a:pt x="94" y="264"/>
                </a:lnTo>
                <a:lnTo>
                  <a:pt x="107" y="273"/>
                </a:lnTo>
                <a:lnTo>
                  <a:pt x="116" y="264"/>
                </a:lnTo>
                <a:lnTo>
                  <a:pt x="112" y="255"/>
                </a:lnTo>
                <a:lnTo>
                  <a:pt x="116" y="242"/>
                </a:lnTo>
                <a:close/>
                <a:moveTo>
                  <a:pt x="174" y="193"/>
                </a:moveTo>
                <a:lnTo>
                  <a:pt x="170" y="188"/>
                </a:lnTo>
                <a:lnTo>
                  <a:pt x="170" y="184"/>
                </a:lnTo>
                <a:lnTo>
                  <a:pt x="161" y="188"/>
                </a:lnTo>
                <a:lnTo>
                  <a:pt x="143" y="193"/>
                </a:lnTo>
                <a:lnTo>
                  <a:pt x="134" y="188"/>
                </a:lnTo>
                <a:lnTo>
                  <a:pt x="116" y="202"/>
                </a:lnTo>
                <a:lnTo>
                  <a:pt x="107" y="206"/>
                </a:lnTo>
                <a:lnTo>
                  <a:pt x="107" y="215"/>
                </a:lnTo>
                <a:lnTo>
                  <a:pt x="112" y="219"/>
                </a:lnTo>
                <a:lnTo>
                  <a:pt x="116" y="215"/>
                </a:lnTo>
                <a:lnTo>
                  <a:pt x="121" y="219"/>
                </a:lnTo>
                <a:lnTo>
                  <a:pt x="129" y="215"/>
                </a:lnTo>
                <a:lnTo>
                  <a:pt x="129" y="224"/>
                </a:lnTo>
                <a:lnTo>
                  <a:pt x="125" y="228"/>
                </a:lnTo>
                <a:lnTo>
                  <a:pt x="125" y="233"/>
                </a:lnTo>
                <a:lnTo>
                  <a:pt x="138" y="237"/>
                </a:lnTo>
                <a:lnTo>
                  <a:pt x="138" y="228"/>
                </a:lnTo>
                <a:lnTo>
                  <a:pt x="143" y="224"/>
                </a:lnTo>
                <a:lnTo>
                  <a:pt x="152" y="228"/>
                </a:lnTo>
                <a:lnTo>
                  <a:pt x="161" y="219"/>
                </a:lnTo>
                <a:lnTo>
                  <a:pt x="152" y="215"/>
                </a:lnTo>
                <a:lnTo>
                  <a:pt x="143" y="215"/>
                </a:lnTo>
                <a:lnTo>
                  <a:pt x="143" y="219"/>
                </a:lnTo>
                <a:lnTo>
                  <a:pt x="134" y="219"/>
                </a:lnTo>
                <a:lnTo>
                  <a:pt x="134" y="210"/>
                </a:lnTo>
                <a:lnTo>
                  <a:pt x="161" y="206"/>
                </a:lnTo>
                <a:lnTo>
                  <a:pt x="161" y="210"/>
                </a:lnTo>
                <a:lnTo>
                  <a:pt x="161" y="215"/>
                </a:lnTo>
                <a:lnTo>
                  <a:pt x="165" y="210"/>
                </a:lnTo>
                <a:lnTo>
                  <a:pt x="170" y="215"/>
                </a:lnTo>
                <a:lnTo>
                  <a:pt x="170" y="219"/>
                </a:lnTo>
                <a:lnTo>
                  <a:pt x="179" y="228"/>
                </a:lnTo>
                <a:lnTo>
                  <a:pt x="183" y="215"/>
                </a:lnTo>
                <a:lnTo>
                  <a:pt x="192" y="210"/>
                </a:lnTo>
                <a:lnTo>
                  <a:pt x="210" y="206"/>
                </a:lnTo>
                <a:lnTo>
                  <a:pt x="214" y="197"/>
                </a:lnTo>
                <a:lnTo>
                  <a:pt x="223" y="197"/>
                </a:lnTo>
                <a:lnTo>
                  <a:pt x="219" y="206"/>
                </a:lnTo>
                <a:lnTo>
                  <a:pt x="223" y="210"/>
                </a:lnTo>
                <a:lnTo>
                  <a:pt x="228" y="202"/>
                </a:lnTo>
                <a:lnTo>
                  <a:pt x="228" y="193"/>
                </a:lnTo>
                <a:lnTo>
                  <a:pt x="232" y="197"/>
                </a:lnTo>
                <a:lnTo>
                  <a:pt x="237" y="202"/>
                </a:lnTo>
                <a:lnTo>
                  <a:pt x="246" y="197"/>
                </a:lnTo>
                <a:lnTo>
                  <a:pt x="246" y="188"/>
                </a:lnTo>
                <a:lnTo>
                  <a:pt x="250" y="184"/>
                </a:lnTo>
                <a:lnTo>
                  <a:pt x="246" y="179"/>
                </a:lnTo>
                <a:lnTo>
                  <a:pt x="250" y="170"/>
                </a:lnTo>
                <a:lnTo>
                  <a:pt x="255" y="161"/>
                </a:lnTo>
                <a:lnTo>
                  <a:pt x="250" y="148"/>
                </a:lnTo>
                <a:lnTo>
                  <a:pt x="255" y="139"/>
                </a:lnTo>
                <a:lnTo>
                  <a:pt x="259" y="148"/>
                </a:lnTo>
                <a:lnTo>
                  <a:pt x="259" y="143"/>
                </a:lnTo>
                <a:lnTo>
                  <a:pt x="259" y="135"/>
                </a:lnTo>
                <a:lnTo>
                  <a:pt x="263" y="130"/>
                </a:lnTo>
                <a:lnTo>
                  <a:pt x="263" y="99"/>
                </a:lnTo>
                <a:lnTo>
                  <a:pt x="255" y="94"/>
                </a:lnTo>
                <a:lnTo>
                  <a:pt x="255" y="81"/>
                </a:lnTo>
                <a:lnTo>
                  <a:pt x="250" y="76"/>
                </a:lnTo>
                <a:lnTo>
                  <a:pt x="250" y="85"/>
                </a:lnTo>
                <a:lnTo>
                  <a:pt x="250" y="90"/>
                </a:lnTo>
                <a:lnTo>
                  <a:pt x="246" y="90"/>
                </a:lnTo>
                <a:lnTo>
                  <a:pt x="241" y="85"/>
                </a:lnTo>
                <a:lnTo>
                  <a:pt x="232" y="94"/>
                </a:lnTo>
                <a:lnTo>
                  <a:pt x="237" y="99"/>
                </a:lnTo>
                <a:lnTo>
                  <a:pt x="228" y="112"/>
                </a:lnTo>
                <a:lnTo>
                  <a:pt x="241" y="117"/>
                </a:lnTo>
                <a:lnTo>
                  <a:pt x="237" y="126"/>
                </a:lnTo>
                <a:lnTo>
                  <a:pt x="232" y="130"/>
                </a:lnTo>
                <a:lnTo>
                  <a:pt x="210" y="161"/>
                </a:lnTo>
                <a:lnTo>
                  <a:pt x="192" y="170"/>
                </a:lnTo>
                <a:lnTo>
                  <a:pt x="192" y="161"/>
                </a:lnTo>
                <a:lnTo>
                  <a:pt x="196" y="157"/>
                </a:lnTo>
                <a:lnTo>
                  <a:pt x="188" y="161"/>
                </a:lnTo>
                <a:lnTo>
                  <a:pt x="188" y="170"/>
                </a:lnTo>
                <a:lnTo>
                  <a:pt x="179" y="179"/>
                </a:lnTo>
                <a:lnTo>
                  <a:pt x="179" y="184"/>
                </a:lnTo>
                <a:lnTo>
                  <a:pt x="174" y="188"/>
                </a:lnTo>
                <a:lnTo>
                  <a:pt x="174" y="193"/>
                </a:lnTo>
                <a:close/>
                <a:moveTo>
                  <a:pt x="255" y="41"/>
                </a:moveTo>
                <a:lnTo>
                  <a:pt x="250" y="41"/>
                </a:lnTo>
                <a:lnTo>
                  <a:pt x="241" y="41"/>
                </a:lnTo>
                <a:lnTo>
                  <a:pt x="241" y="45"/>
                </a:lnTo>
                <a:lnTo>
                  <a:pt x="241" y="50"/>
                </a:lnTo>
                <a:lnTo>
                  <a:pt x="232" y="54"/>
                </a:lnTo>
                <a:lnTo>
                  <a:pt x="232" y="63"/>
                </a:lnTo>
                <a:lnTo>
                  <a:pt x="237" y="67"/>
                </a:lnTo>
                <a:lnTo>
                  <a:pt x="232" y="76"/>
                </a:lnTo>
                <a:lnTo>
                  <a:pt x="241" y="81"/>
                </a:lnTo>
                <a:lnTo>
                  <a:pt x="246" y="72"/>
                </a:lnTo>
                <a:lnTo>
                  <a:pt x="250" y="76"/>
                </a:lnTo>
                <a:lnTo>
                  <a:pt x="255" y="72"/>
                </a:lnTo>
                <a:lnTo>
                  <a:pt x="250" y="67"/>
                </a:lnTo>
                <a:lnTo>
                  <a:pt x="241" y="63"/>
                </a:lnTo>
                <a:lnTo>
                  <a:pt x="250" y="59"/>
                </a:lnTo>
                <a:lnTo>
                  <a:pt x="250" y="63"/>
                </a:lnTo>
                <a:lnTo>
                  <a:pt x="259" y="63"/>
                </a:lnTo>
                <a:lnTo>
                  <a:pt x="255" y="59"/>
                </a:lnTo>
                <a:lnTo>
                  <a:pt x="259" y="54"/>
                </a:lnTo>
                <a:lnTo>
                  <a:pt x="277" y="67"/>
                </a:lnTo>
                <a:lnTo>
                  <a:pt x="286" y="72"/>
                </a:lnTo>
                <a:lnTo>
                  <a:pt x="286" y="59"/>
                </a:lnTo>
                <a:lnTo>
                  <a:pt x="295" y="45"/>
                </a:lnTo>
                <a:lnTo>
                  <a:pt x="308" y="50"/>
                </a:lnTo>
                <a:lnTo>
                  <a:pt x="317" y="45"/>
                </a:lnTo>
                <a:lnTo>
                  <a:pt x="317" y="41"/>
                </a:lnTo>
                <a:lnTo>
                  <a:pt x="308" y="32"/>
                </a:lnTo>
                <a:lnTo>
                  <a:pt x="317" y="23"/>
                </a:lnTo>
                <a:lnTo>
                  <a:pt x="313" y="18"/>
                </a:lnTo>
                <a:lnTo>
                  <a:pt x="299" y="32"/>
                </a:lnTo>
                <a:lnTo>
                  <a:pt x="286" y="23"/>
                </a:lnTo>
                <a:lnTo>
                  <a:pt x="263" y="0"/>
                </a:lnTo>
                <a:lnTo>
                  <a:pt x="255" y="5"/>
                </a:lnTo>
                <a:lnTo>
                  <a:pt x="259" y="9"/>
                </a:lnTo>
                <a:lnTo>
                  <a:pt x="259" y="14"/>
                </a:lnTo>
                <a:lnTo>
                  <a:pt x="259" y="32"/>
                </a:lnTo>
                <a:lnTo>
                  <a:pt x="255" y="32"/>
                </a:lnTo>
                <a:lnTo>
                  <a:pt x="255" y="41"/>
                </a:lnTo>
                <a:close/>
              </a:path>
            </a:pathLst>
          </a:custGeom>
          <a:solidFill>
            <a:schemeClr val="tx2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39" name="Freeform 160"/>
          <p:cNvSpPr>
            <a:spLocks/>
          </p:cNvSpPr>
          <p:nvPr/>
        </p:nvSpPr>
        <p:spPr bwMode="gray">
          <a:xfrm>
            <a:off x="2335925" y="3901890"/>
            <a:ext cx="800841" cy="386089"/>
          </a:xfrm>
          <a:custGeom>
            <a:avLst/>
            <a:gdLst>
              <a:gd name="T0" fmla="*/ 9 w 585"/>
              <a:gd name="T1" fmla="*/ 179 h 317"/>
              <a:gd name="T2" fmla="*/ 31 w 585"/>
              <a:gd name="T3" fmla="*/ 197 h 317"/>
              <a:gd name="T4" fmla="*/ 36 w 585"/>
              <a:gd name="T5" fmla="*/ 206 h 317"/>
              <a:gd name="T6" fmla="*/ 81 w 585"/>
              <a:gd name="T7" fmla="*/ 192 h 317"/>
              <a:gd name="T8" fmla="*/ 76 w 585"/>
              <a:gd name="T9" fmla="*/ 232 h 317"/>
              <a:gd name="T10" fmla="*/ 72 w 585"/>
              <a:gd name="T11" fmla="*/ 250 h 317"/>
              <a:gd name="T12" fmla="*/ 67 w 585"/>
              <a:gd name="T13" fmla="*/ 277 h 317"/>
              <a:gd name="T14" fmla="*/ 85 w 585"/>
              <a:gd name="T15" fmla="*/ 295 h 317"/>
              <a:gd name="T16" fmla="*/ 112 w 585"/>
              <a:gd name="T17" fmla="*/ 291 h 317"/>
              <a:gd name="T18" fmla="*/ 134 w 585"/>
              <a:gd name="T19" fmla="*/ 313 h 317"/>
              <a:gd name="T20" fmla="*/ 183 w 585"/>
              <a:gd name="T21" fmla="*/ 224 h 317"/>
              <a:gd name="T22" fmla="*/ 210 w 585"/>
              <a:gd name="T23" fmla="*/ 206 h 317"/>
              <a:gd name="T24" fmla="*/ 223 w 585"/>
              <a:gd name="T25" fmla="*/ 241 h 317"/>
              <a:gd name="T26" fmla="*/ 223 w 585"/>
              <a:gd name="T27" fmla="*/ 268 h 317"/>
              <a:gd name="T28" fmla="*/ 273 w 585"/>
              <a:gd name="T29" fmla="*/ 282 h 317"/>
              <a:gd name="T30" fmla="*/ 273 w 585"/>
              <a:gd name="T31" fmla="*/ 304 h 317"/>
              <a:gd name="T32" fmla="*/ 322 w 585"/>
              <a:gd name="T33" fmla="*/ 313 h 317"/>
              <a:gd name="T34" fmla="*/ 371 w 585"/>
              <a:gd name="T35" fmla="*/ 286 h 317"/>
              <a:gd name="T36" fmla="*/ 393 w 585"/>
              <a:gd name="T37" fmla="*/ 282 h 317"/>
              <a:gd name="T38" fmla="*/ 460 w 585"/>
              <a:gd name="T39" fmla="*/ 291 h 317"/>
              <a:gd name="T40" fmla="*/ 474 w 585"/>
              <a:gd name="T41" fmla="*/ 291 h 317"/>
              <a:gd name="T42" fmla="*/ 483 w 585"/>
              <a:gd name="T43" fmla="*/ 299 h 317"/>
              <a:gd name="T44" fmla="*/ 478 w 585"/>
              <a:gd name="T45" fmla="*/ 237 h 317"/>
              <a:gd name="T46" fmla="*/ 550 w 585"/>
              <a:gd name="T47" fmla="*/ 201 h 317"/>
              <a:gd name="T48" fmla="*/ 581 w 585"/>
              <a:gd name="T49" fmla="*/ 152 h 317"/>
              <a:gd name="T50" fmla="*/ 554 w 585"/>
              <a:gd name="T51" fmla="*/ 143 h 317"/>
              <a:gd name="T52" fmla="*/ 523 w 585"/>
              <a:gd name="T53" fmla="*/ 112 h 317"/>
              <a:gd name="T54" fmla="*/ 500 w 585"/>
              <a:gd name="T55" fmla="*/ 116 h 317"/>
              <a:gd name="T56" fmla="*/ 483 w 585"/>
              <a:gd name="T57" fmla="*/ 116 h 317"/>
              <a:gd name="T58" fmla="*/ 433 w 585"/>
              <a:gd name="T59" fmla="*/ 27 h 317"/>
              <a:gd name="T60" fmla="*/ 402 w 585"/>
              <a:gd name="T61" fmla="*/ 49 h 317"/>
              <a:gd name="T62" fmla="*/ 389 w 585"/>
              <a:gd name="T63" fmla="*/ 40 h 317"/>
              <a:gd name="T64" fmla="*/ 357 w 585"/>
              <a:gd name="T65" fmla="*/ 36 h 317"/>
              <a:gd name="T66" fmla="*/ 340 w 585"/>
              <a:gd name="T67" fmla="*/ 9 h 317"/>
              <a:gd name="T68" fmla="*/ 308 w 585"/>
              <a:gd name="T69" fmla="*/ 18 h 317"/>
              <a:gd name="T70" fmla="*/ 268 w 585"/>
              <a:gd name="T71" fmla="*/ 22 h 317"/>
              <a:gd name="T72" fmla="*/ 237 w 585"/>
              <a:gd name="T73" fmla="*/ 36 h 317"/>
              <a:gd name="T74" fmla="*/ 219 w 585"/>
              <a:gd name="T75" fmla="*/ 49 h 317"/>
              <a:gd name="T76" fmla="*/ 210 w 585"/>
              <a:gd name="T77" fmla="*/ 63 h 317"/>
              <a:gd name="T78" fmla="*/ 201 w 585"/>
              <a:gd name="T79" fmla="*/ 94 h 317"/>
              <a:gd name="T80" fmla="*/ 215 w 585"/>
              <a:gd name="T81" fmla="*/ 116 h 317"/>
              <a:gd name="T82" fmla="*/ 183 w 585"/>
              <a:gd name="T83" fmla="*/ 116 h 317"/>
              <a:gd name="T84" fmla="*/ 156 w 585"/>
              <a:gd name="T85" fmla="*/ 112 h 317"/>
              <a:gd name="T86" fmla="*/ 134 w 585"/>
              <a:gd name="T87" fmla="*/ 121 h 317"/>
              <a:gd name="T88" fmla="*/ 116 w 585"/>
              <a:gd name="T89" fmla="*/ 121 h 317"/>
              <a:gd name="T90" fmla="*/ 89 w 585"/>
              <a:gd name="T91" fmla="*/ 103 h 317"/>
              <a:gd name="T92" fmla="*/ 72 w 585"/>
              <a:gd name="T93" fmla="*/ 98 h 317"/>
              <a:gd name="T94" fmla="*/ 36 w 585"/>
              <a:gd name="T95" fmla="*/ 121 h 317"/>
              <a:gd name="T96" fmla="*/ 18 w 585"/>
              <a:gd name="T97" fmla="*/ 125 h 317"/>
              <a:gd name="T98" fmla="*/ 5 w 585"/>
              <a:gd name="T99" fmla="*/ 152 h 31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585"/>
              <a:gd name="T151" fmla="*/ 0 h 317"/>
              <a:gd name="T152" fmla="*/ 585 w 585"/>
              <a:gd name="T153" fmla="*/ 317 h 31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585" h="317">
                <a:moveTo>
                  <a:pt x="5" y="156"/>
                </a:moveTo>
                <a:lnTo>
                  <a:pt x="0" y="170"/>
                </a:lnTo>
                <a:lnTo>
                  <a:pt x="9" y="174"/>
                </a:lnTo>
                <a:lnTo>
                  <a:pt x="9" y="179"/>
                </a:lnTo>
                <a:lnTo>
                  <a:pt x="13" y="188"/>
                </a:lnTo>
                <a:lnTo>
                  <a:pt x="13" y="179"/>
                </a:lnTo>
                <a:lnTo>
                  <a:pt x="22" y="183"/>
                </a:lnTo>
                <a:lnTo>
                  <a:pt x="31" y="197"/>
                </a:lnTo>
                <a:lnTo>
                  <a:pt x="36" y="201"/>
                </a:lnTo>
                <a:lnTo>
                  <a:pt x="31" y="201"/>
                </a:lnTo>
                <a:lnTo>
                  <a:pt x="27" y="206"/>
                </a:lnTo>
                <a:lnTo>
                  <a:pt x="36" y="206"/>
                </a:lnTo>
                <a:lnTo>
                  <a:pt x="49" y="201"/>
                </a:lnTo>
                <a:lnTo>
                  <a:pt x="67" y="192"/>
                </a:lnTo>
                <a:lnTo>
                  <a:pt x="81" y="192"/>
                </a:lnTo>
                <a:lnTo>
                  <a:pt x="103" y="201"/>
                </a:lnTo>
                <a:lnTo>
                  <a:pt x="98" y="224"/>
                </a:lnTo>
                <a:lnTo>
                  <a:pt x="98" y="232"/>
                </a:lnTo>
                <a:lnTo>
                  <a:pt x="76" y="232"/>
                </a:lnTo>
                <a:lnTo>
                  <a:pt x="67" y="232"/>
                </a:lnTo>
                <a:lnTo>
                  <a:pt x="67" y="241"/>
                </a:lnTo>
                <a:lnTo>
                  <a:pt x="72" y="241"/>
                </a:lnTo>
                <a:lnTo>
                  <a:pt x="72" y="250"/>
                </a:lnTo>
                <a:lnTo>
                  <a:pt x="54" y="250"/>
                </a:lnTo>
                <a:lnTo>
                  <a:pt x="54" y="255"/>
                </a:lnTo>
                <a:lnTo>
                  <a:pt x="63" y="255"/>
                </a:lnTo>
                <a:lnTo>
                  <a:pt x="67" y="277"/>
                </a:lnTo>
                <a:lnTo>
                  <a:pt x="76" y="277"/>
                </a:lnTo>
                <a:lnTo>
                  <a:pt x="81" y="286"/>
                </a:lnTo>
                <a:lnTo>
                  <a:pt x="89" y="286"/>
                </a:lnTo>
                <a:lnTo>
                  <a:pt x="85" y="295"/>
                </a:lnTo>
                <a:lnTo>
                  <a:pt x="89" y="304"/>
                </a:lnTo>
                <a:lnTo>
                  <a:pt x="89" y="299"/>
                </a:lnTo>
                <a:lnTo>
                  <a:pt x="98" y="295"/>
                </a:lnTo>
                <a:lnTo>
                  <a:pt x="112" y="291"/>
                </a:lnTo>
                <a:lnTo>
                  <a:pt x="121" y="299"/>
                </a:lnTo>
                <a:lnTo>
                  <a:pt x="125" y="308"/>
                </a:lnTo>
                <a:lnTo>
                  <a:pt x="130" y="313"/>
                </a:lnTo>
                <a:lnTo>
                  <a:pt x="134" y="313"/>
                </a:lnTo>
                <a:lnTo>
                  <a:pt x="134" y="241"/>
                </a:lnTo>
                <a:lnTo>
                  <a:pt x="174" y="228"/>
                </a:lnTo>
                <a:lnTo>
                  <a:pt x="174" y="219"/>
                </a:lnTo>
                <a:lnTo>
                  <a:pt x="183" y="224"/>
                </a:lnTo>
                <a:lnTo>
                  <a:pt x="183" y="210"/>
                </a:lnTo>
                <a:lnTo>
                  <a:pt x="192" y="215"/>
                </a:lnTo>
                <a:lnTo>
                  <a:pt x="197" y="206"/>
                </a:lnTo>
                <a:lnTo>
                  <a:pt x="210" y="206"/>
                </a:lnTo>
                <a:lnTo>
                  <a:pt x="219" y="206"/>
                </a:lnTo>
                <a:lnTo>
                  <a:pt x="210" y="224"/>
                </a:lnTo>
                <a:lnTo>
                  <a:pt x="215" y="237"/>
                </a:lnTo>
                <a:lnTo>
                  <a:pt x="223" y="241"/>
                </a:lnTo>
                <a:lnTo>
                  <a:pt x="215" y="246"/>
                </a:lnTo>
                <a:lnTo>
                  <a:pt x="215" y="255"/>
                </a:lnTo>
                <a:lnTo>
                  <a:pt x="223" y="268"/>
                </a:lnTo>
                <a:lnTo>
                  <a:pt x="255" y="268"/>
                </a:lnTo>
                <a:lnTo>
                  <a:pt x="259" y="264"/>
                </a:lnTo>
                <a:lnTo>
                  <a:pt x="268" y="273"/>
                </a:lnTo>
                <a:lnTo>
                  <a:pt x="273" y="282"/>
                </a:lnTo>
                <a:lnTo>
                  <a:pt x="277" y="282"/>
                </a:lnTo>
                <a:lnTo>
                  <a:pt x="277" y="295"/>
                </a:lnTo>
                <a:lnTo>
                  <a:pt x="273" y="295"/>
                </a:lnTo>
                <a:lnTo>
                  <a:pt x="273" y="304"/>
                </a:lnTo>
                <a:lnTo>
                  <a:pt x="286" y="304"/>
                </a:lnTo>
                <a:lnTo>
                  <a:pt x="286" y="313"/>
                </a:lnTo>
                <a:lnTo>
                  <a:pt x="317" y="317"/>
                </a:lnTo>
                <a:lnTo>
                  <a:pt x="322" y="313"/>
                </a:lnTo>
                <a:lnTo>
                  <a:pt x="340" y="295"/>
                </a:lnTo>
                <a:lnTo>
                  <a:pt x="353" y="291"/>
                </a:lnTo>
                <a:lnTo>
                  <a:pt x="357" y="286"/>
                </a:lnTo>
                <a:lnTo>
                  <a:pt x="371" y="286"/>
                </a:lnTo>
                <a:lnTo>
                  <a:pt x="384" y="295"/>
                </a:lnTo>
                <a:lnTo>
                  <a:pt x="389" y="295"/>
                </a:lnTo>
                <a:lnTo>
                  <a:pt x="389" y="282"/>
                </a:lnTo>
                <a:lnTo>
                  <a:pt x="393" y="282"/>
                </a:lnTo>
                <a:lnTo>
                  <a:pt x="407" y="286"/>
                </a:lnTo>
                <a:lnTo>
                  <a:pt x="411" y="291"/>
                </a:lnTo>
                <a:lnTo>
                  <a:pt x="429" y="286"/>
                </a:lnTo>
                <a:lnTo>
                  <a:pt x="460" y="291"/>
                </a:lnTo>
                <a:lnTo>
                  <a:pt x="469" y="286"/>
                </a:lnTo>
                <a:lnTo>
                  <a:pt x="474" y="286"/>
                </a:lnTo>
                <a:lnTo>
                  <a:pt x="469" y="291"/>
                </a:lnTo>
                <a:lnTo>
                  <a:pt x="474" y="291"/>
                </a:lnTo>
                <a:lnTo>
                  <a:pt x="474" y="295"/>
                </a:lnTo>
                <a:lnTo>
                  <a:pt x="483" y="295"/>
                </a:lnTo>
                <a:lnTo>
                  <a:pt x="483" y="299"/>
                </a:lnTo>
                <a:lnTo>
                  <a:pt x="491" y="273"/>
                </a:lnTo>
                <a:lnTo>
                  <a:pt x="487" y="250"/>
                </a:lnTo>
                <a:lnTo>
                  <a:pt x="478" y="246"/>
                </a:lnTo>
                <a:lnTo>
                  <a:pt x="478" y="237"/>
                </a:lnTo>
                <a:lnTo>
                  <a:pt x="514" y="237"/>
                </a:lnTo>
                <a:lnTo>
                  <a:pt x="509" y="228"/>
                </a:lnTo>
                <a:lnTo>
                  <a:pt x="523" y="197"/>
                </a:lnTo>
                <a:lnTo>
                  <a:pt x="550" y="201"/>
                </a:lnTo>
                <a:lnTo>
                  <a:pt x="563" y="192"/>
                </a:lnTo>
                <a:lnTo>
                  <a:pt x="563" y="174"/>
                </a:lnTo>
                <a:lnTo>
                  <a:pt x="572" y="165"/>
                </a:lnTo>
                <a:lnTo>
                  <a:pt x="581" y="152"/>
                </a:lnTo>
                <a:lnTo>
                  <a:pt x="585" y="152"/>
                </a:lnTo>
                <a:lnTo>
                  <a:pt x="585" y="148"/>
                </a:lnTo>
                <a:lnTo>
                  <a:pt x="563" y="143"/>
                </a:lnTo>
                <a:lnTo>
                  <a:pt x="554" y="143"/>
                </a:lnTo>
                <a:lnTo>
                  <a:pt x="550" y="130"/>
                </a:lnTo>
                <a:lnTo>
                  <a:pt x="545" y="134"/>
                </a:lnTo>
                <a:lnTo>
                  <a:pt x="532" y="116"/>
                </a:lnTo>
                <a:lnTo>
                  <a:pt x="523" y="112"/>
                </a:lnTo>
                <a:lnTo>
                  <a:pt x="518" y="112"/>
                </a:lnTo>
                <a:lnTo>
                  <a:pt x="514" y="116"/>
                </a:lnTo>
                <a:lnTo>
                  <a:pt x="509" y="121"/>
                </a:lnTo>
                <a:lnTo>
                  <a:pt x="500" y="116"/>
                </a:lnTo>
                <a:lnTo>
                  <a:pt x="500" y="107"/>
                </a:lnTo>
                <a:lnTo>
                  <a:pt x="491" y="107"/>
                </a:lnTo>
                <a:lnTo>
                  <a:pt x="487" y="112"/>
                </a:lnTo>
                <a:lnTo>
                  <a:pt x="483" y="116"/>
                </a:lnTo>
                <a:lnTo>
                  <a:pt x="451" y="63"/>
                </a:lnTo>
                <a:lnTo>
                  <a:pt x="433" y="40"/>
                </a:lnTo>
                <a:lnTo>
                  <a:pt x="438" y="31"/>
                </a:lnTo>
                <a:lnTo>
                  <a:pt x="433" y="27"/>
                </a:lnTo>
                <a:lnTo>
                  <a:pt x="424" y="31"/>
                </a:lnTo>
                <a:lnTo>
                  <a:pt x="416" y="36"/>
                </a:lnTo>
                <a:lnTo>
                  <a:pt x="411" y="40"/>
                </a:lnTo>
                <a:lnTo>
                  <a:pt x="402" y="49"/>
                </a:lnTo>
                <a:lnTo>
                  <a:pt x="393" y="45"/>
                </a:lnTo>
                <a:lnTo>
                  <a:pt x="384" y="49"/>
                </a:lnTo>
                <a:lnTo>
                  <a:pt x="384" y="45"/>
                </a:lnTo>
                <a:lnTo>
                  <a:pt x="389" y="40"/>
                </a:lnTo>
                <a:lnTo>
                  <a:pt x="375" y="36"/>
                </a:lnTo>
                <a:lnTo>
                  <a:pt x="371" y="40"/>
                </a:lnTo>
                <a:lnTo>
                  <a:pt x="371" y="31"/>
                </a:lnTo>
                <a:lnTo>
                  <a:pt x="357" y="36"/>
                </a:lnTo>
                <a:lnTo>
                  <a:pt x="353" y="31"/>
                </a:lnTo>
                <a:lnTo>
                  <a:pt x="353" y="22"/>
                </a:lnTo>
                <a:lnTo>
                  <a:pt x="349" y="9"/>
                </a:lnTo>
                <a:lnTo>
                  <a:pt x="340" y="9"/>
                </a:lnTo>
                <a:lnTo>
                  <a:pt x="322" y="5"/>
                </a:lnTo>
                <a:lnTo>
                  <a:pt x="317" y="9"/>
                </a:lnTo>
                <a:lnTo>
                  <a:pt x="313" y="0"/>
                </a:lnTo>
                <a:lnTo>
                  <a:pt x="308" y="18"/>
                </a:lnTo>
                <a:lnTo>
                  <a:pt x="304" y="13"/>
                </a:lnTo>
                <a:lnTo>
                  <a:pt x="299" y="18"/>
                </a:lnTo>
                <a:lnTo>
                  <a:pt x="277" y="22"/>
                </a:lnTo>
                <a:lnTo>
                  <a:pt x="268" y="22"/>
                </a:lnTo>
                <a:lnTo>
                  <a:pt x="264" y="27"/>
                </a:lnTo>
                <a:lnTo>
                  <a:pt x="264" y="22"/>
                </a:lnTo>
                <a:lnTo>
                  <a:pt x="246" y="31"/>
                </a:lnTo>
                <a:lnTo>
                  <a:pt x="237" y="36"/>
                </a:lnTo>
                <a:lnTo>
                  <a:pt x="215" y="36"/>
                </a:lnTo>
                <a:lnTo>
                  <a:pt x="210" y="40"/>
                </a:lnTo>
                <a:lnTo>
                  <a:pt x="206" y="49"/>
                </a:lnTo>
                <a:lnTo>
                  <a:pt x="219" y="49"/>
                </a:lnTo>
                <a:lnTo>
                  <a:pt x="210" y="54"/>
                </a:lnTo>
                <a:lnTo>
                  <a:pt x="219" y="54"/>
                </a:lnTo>
                <a:lnTo>
                  <a:pt x="223" y="63"/>
                </a:lnTo>
                <a:lnTo>
                  <a:pt x="210" y="63"/>
                </a:lnTo>
                <a:lnTo>
                  <a:pt x="201" y="67"/>
                </a:lnTo>
                <a:lnTo>
                  <a:pt x="206" y="76"/>
                </a:lnTo>
                <a:lnTo>
                  <a:pt x="192" y="85"/>
                </a:lnTo>
                <a:lnTo>
                  <a:pt x="201" y="94"/>
                </a:lnTo>
                <a:lnTo>
                  <a:pt x="206" y="103"/>
                </a:lnTo>
                <a:lnTo>
                  <a:pt x="215" y="103"/>
                </a:lnTo>
                <a:lnTo>
                  <a:pt x="215" y="112"/>
                </a:lnTo>
                <a:lnTo>
                  <a:pt x="215" y="116"/>
                </a:lnTo>
                <a:lnTo>
                  <a:pt x="201" y="121"/>
                </a:lnTo>
                <a:lnTo>
                  <a:pt x="192" y="112"/>
                </a:lnTo>
                <a:lnTo>
                  <a:pt x="183" y="125"/>
                </a:lnTo>
                <a:lnTo>
                  <a:pt x="183" y="116"/>
                </a:lnTo>
                <a:lnTo>
                  <a:pt x="179" y="112"/>
                </a:lnTo>
                <a:lnTo>
                  <a:pt x="174" y="107"/>
                </a:lnTo>
                <a:lnTo>
                  <a:pt x="165" y="107"/>
                </a:lnTo>
                <a:lnTo>
                  <a:pt x="156" y="112"/>
                </a:lnTo>
                <a:lnTo>
                  <a:pt x="152" y="107"/>
                </a:lnTo>
                <a:lnTo>
                  <a:pt x="143" y="107"/>
                </a:lnTo>
                <a:lnTo>
                  <a:pt x="139" y="116"/>
                </a:lnTo>
                <a:lnTo>
                  <a:pt x="134" y="121"/>
                </a:lnTo>
                <a:lnTo>
                  <a:pt x="125" y="116"/>
                </a:lnTo>
                <a:lnTo>
                  <a:pt x="121" y="116"/>
                </a:lnTo>
                <a:lnTo>
                  <a:pt x="121" y="121"/>
                </a:lnTo>
                <a:lnTo>
                  <a:pt x="116" y="121"/>
                </a:lnTo>
                <a:lnTo>
                  <a:pt x="112" y="116"/>
                </a:lnTo>
                <a:lnTo>
                  <a:pt x="107" y="103"/>
                </a:lnTo>
                <a:lnTo>
                  <a:pt x="94" y="98"/>
                </a:lnTo>
                <a:lnTo>
                  <a:pt x="89" y="103"/>
                </a:lnTo>
                <a:lnTo>
                  <a:pt x="85" y="94"/>
                </a:lnTo>
                <a:lnTo>
                  <a:pt x="76" y="98"/>
                </a:lnTo>
                <a:lnTo>
                  <a:pt x="72" y="103"/>
                </a:lnTo>
                <a:lnTo>
                  <a:pt x="72" y="98"/>
                </a:lnTo>
                <a:lnTo>
                  <a:pt x="67" y="94"/>
                </a:lnTo>
                <a:lnTo>
                  <a:pt x="63" y="103"/>
                </a:lnTo>
                <a:lnTo>
                  <a:pt x="45" y="116"/>
                </a:lnTo>
                <a:lnTo>
                  <a:pt x="36" y="121"/>
                </a:lnTo>
                <a:lnTo>
                  <a:pt x="31" y="116"/>
                </a:lnTo>
                <a:lnTo>
                  <a:pt x="36" y="134"/>
                </a:lnTo>
                <a:lnTo>
                  <a:pt x="31" y="139"/>
                </a:lnTo>
                <a:lnTo>
                  <a:pt x="18" y="125"/>
                </a:lnTo>
                <a:lnTo>
                  <a:pt x="13" y="125"/>
                </a:lnTo>
                <a:lnTo>
                  <a:pt x="13" y="139"/>
                </a:lnTo>
                <a:lnTo>
                  <a:pt x="9" y="139"/>
                </a:lnTo>
                <a:lnTo>
                  <a:pt x="5" y="152"/>
                </a:lnTo>
                <a:lnTo>
                  <a:pt x="5" y="156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0" name="Freeform 161"/>
          <p:cNvSpPr>
            <a:spLocks/>
          </p:cNvSpPr>
          <p:nvPr/>
        </p:nvSpPr>
        <p:spPr bwMode="gray">
          <a:xfrm>
            <a:off x="2110047" y="4468235"/>
            <a:ext cx="84875" cy="81602"/>
          </a:xfrm>
          <a:custGeom>
            <a:avLst/>
            <a:gdLst>
              <a:gd name="T0" fmla="*/ 0 w 62"/>
              <a:gd name="T1" fmla="*/ 62 h 67"/>
              <a:gd name="T2" fmla="*/ 0 w 62"/>
              <a:gd name="T3" fmla="*/ 67 h 67"/>
              <a:gd name="T4" fmla="*/ 22 w 62"/>
              <a:gd name="T5" fmla="*/ 67 h 67"/>
              <a:gd name="T6" fmla="*/ 27 w 62"/>
              <a:gd name="T7" fmla="*/ 58 h 67"/>
              <a:gd name="T8" fmla="*/ 40 w 62"/>
              <a:gd name="T9" fmla="*/ 49 h 67"/>
              <a:gd name="T10" fmla="*/ 36 w 62"/>
              <a:gd name="T11" fmla="*/ 31 h 67"/>
              <a:gd name="T12" fmla="*/ 62 w 62"/>
              <a:gd name="T13" fmla="*/ 18 h 67"/>
              <a:gd name="T14" fmla="*/ 53 w 62"/>
              <a:gd name="T15" fmla="*/ 0 h 67"/>
              <a:gd name="T16" fmla="*/ 49 w 62"/>
              <a:gd name="T17" fmla="*/ 0 h 67"/>
              <a:gd name="T18" fmla="*/ 44 w 62"/>
              <a:gd name="T19" fmla="*/ 4 h 67"/>
              <a:gd name="T20" fmla="*/ 27 w 62"/>
              <a:gd name="T21" fmla="*/ 18 h 67"/>
              <a:gd name="T22" fmla="*/ 13 w 62"/>
              <a:gd name="T23" fmla="*/ 9 h 67"/>
              <a:gd name="T24" fmla="*/ 4 w 62"/>
              <a:gd name="T25" fmla="*/ 18 h 67"/>
              <a:gd name="T26" fmla="*/ 4 w 62"/>
              <a:gd name="T27" fmla="*/ 18 h 67"/>
              <a:gd name="T28" fmla="*/ 9 w 62"/>
              <a:gd name="T29" fmla="*/ 22 h 67"/>
              <a:gd name="T30" fmla="*/ 9 w 62"/>
              <a:gd name="T31" fmla="*/ 36 h 67"/>
              <a:gd name="T32" fmla="*/ 4 w 62"/>
              <a:gd name="T33" fmla="*/ 58 h 67"/>
              <a:gd name="T34" fmla="*/ 0 w 62"/>
              <a:gd name="T35" fmla="*/ 62 h 6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62"/>
              <a:gd name="T55" fmla="*/ 0 h 67"/>
              <a:gd name="T56" fmla="*/ 62 w 62"/>
              <a:gd name="T57" fmla="*/ 67 h 6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62" h="67">
                <a:moveTo>
                  <a:pt x="0" y="62"/>
                </a:moveTo>
                <a:lnTo>
                  <a:pt x="0" y="67"/>
                </a:lnTo>
                <a:lnTo>
                  <a:pt x="22" y="67"/>
                </a:lnTo>
                <a:lnTo>
                  <a:pt x="27" y="58"/>
                </a:lnTo>
                <a:lnTo>
                  <a:pt x="40" y="49"/>
                </a:lnTo>
                <a:lnTo>
                  <a:pt x="36" y="31"/>
                </a:lnTo>
                <a:lnTo>
                  <a:pt x="62" y="18"/>
                </a:lnTo>
                <a:lnTo>
                  <a:pt x="53" y="0"/>
                </a:lnTo>
                <a:lnTo>
                  <a:pt x="49" y="0"/>
                </a:lnTo>
                <a:lnTo>
                  <a:pt x="44" y="4"/>
                </a:lnTo>
                <a:lnTo>
                  <a:pt x="27" y="18"/>
                </a:lnTo>
                <a:lnTo>
                  <a:pt x="13" y="9"/>
                </a:lnTo>
                <a:lnTo>
                  <a:pt x="4" y="18"/>
                </a:lnTo>
                <a:lnTo>
                  <a:pt x="9" y="22"/>
                </a:lnTo>
                <a:lnTo>
                  <a:pt x="9" y="36"/>
                </a:lnTo>
                <a:lnTo>
                  <a:pt x="4" y="58"/>
                </a:lnTo>
                <a:lnTo>
                  <a:pt x="0" y="62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1" name="Freeform 162"/>
          <p:cNvSpPr>
            <a:spLocks/>
          </p:cNvSpPr>
          <p:nvPr/>
        </p:nvSpPr>
        <p:spPr bwMode="gray">
          <a:xfrm>
            <a:off x="3852732" y="4239261"/>
            <a:ext cx="128682" cy="130320"/>
          </a:xfrm>
          <a:custGeom>
            <a:avLst/>
            <a:gdLst>
              <a:gd name="T0" fmla="*/ 0 w 94"/>
              <a:gd name="T1" fmla="*/ 67 h 107"/>
              <a:gd name="T2" fmla="*/ 4 w 94"/>
              <a:gd name="T3" fmla="*/ 67 h 107"/>
              <a:gd name="T4" fmla="*/ 4 w 94"/>
              <a:gd name="T5" fmla="*/ 72 h 107"/>
              <a:gd name="T6" fmla="*/ 13 w 94"/>
              <a:gd name="T7" fmla="*/ 72 h 107"/>
              <a:gd name="T8" fmla="*/ 22 w 94"/>
              <a:gd name="T9" fmla="*/ 72 h 107"/>
              <a:gd name="T10" fmla="*/ 18 w 94"/>
              <a:gd name="T11" fmla="*/ 85 h 107"/>
              <a:gd name="T12" fmla="*/ 22 w 94"/>
              <a:gd name="T13" fmla="*/ 85 h 107"/>
              <a:gd name="T14" fmla="*/ 13 w 94"/>
              <a:gd name="T15" fmla="*/ 90 h 107"/>
              <a:gd name="T16" fmla="*/ 9 w 94"/>
              <a:gd name="T17" fmla="*/ 98 h 107"/>
              <a:gd name="T18" fmla="*/ 13 w 94"/>
              <a:gd name="T19" fmla="*/ 103 h 107"/>
              <a:gd name="T20" fmla="*/ 22 w 94"/>
              <a:gd name="T21" fmla="*/ 107 h 107"/>
              <a:gd name="T22" fmla="*/ 27 w 94"/>
              <a:gd name="T23" fmla="*/ 103 h 107"/>
              <a:gd name="T24" fmla="*/ 36 w 94"/>
              <a:gd name="T25" fmla="*/ 98 h 107"/>
              <a:gd name="T26" fmla="*/ 45 w 94"/>
              <a:gd name="T27" fmla="*/ 98 h 107"/>
              <a:gd name="T28" fmla="*/ 62 w 94"/>
              <a:gd name="T29" fmla="*/ 90 h 107"/>
              <a:gd name="T30" fmla="*/ 62 w 94"/>
              <a:gd name="T31" fmla="*/ 85 h 107"/>
              <a:gd name="T32" fmla="*/ 49 w 94"/>
              <a:gd name="T33" fmla="*/ 81 h 107"/>
              <a:gd name="T34" fmla="*/ 49 w 94"/>
              <a:gd name="T35" fmla="*/ 76 h 107"/>
              <a:gd name="T36" fmla="*/ 58 w 94"/>
              <a:gd name="T37" fmla="*/ 63 h 107"/>
              <a:gd name="T38" fmla="*/ 71 w 94"/>
              <a:gd name="T39" fmla="*/ 58 h 107"/>
              <a:gd name="T40" fmla="*/ 80 w 94"/>
              <a:gd name="T41" fmla="*/ 49 h 107"/>
              <a:gd name="T42" fmla="*/ 85 w 94"/>
              <a:gd name="T43" fmla="*/ 40 h 107"/>
              <a:gd name="T44" fmla="*/ 85 w 94"/>
              <a:gd name="T45" fmla="*/ 22 h 107"/>
              <a:gd name="T46" fmla="*/ 94 w 94"/>
              <a:gd name="T47" fmla="*/ 14 h 107"/>
              <a:gd name="T48" fmla="*/ 85 w 94"/>
              <a:gd name="T49" fmla="*/ 0 h 107"/>
              <a:gd name="T50" fmla="*/ 76 w 94"/>
              <a:gd name="T51" fmla="*/ 9 h 107"/>
              <a:gd name="T52" fmla="*/ 62 w 94"/>
              <a:gd name="T53" fmla="*/ 22 h 107"/>
              <a:gd name="T54" fmla="*/ 62 w 94"/>
              <a:gd name="T55" fmla="*/ 36 h 107"/>
              <a:gd name="T56" fmla="*/ 45 w 94"/>
              <a:gd name="T57" fmla="*/ 27 h 107"/>
              <a:gd name="T58" fmla="*/ 40 w 94"/>
              <a:gd name="T59" fmla="*/ 31 h 107"/>
              <a:gd name="T60" fmla="*/ 27 w 94"/>
              <a:gd name="T61" fmla="*/ 49 h 107"/>
              <a:gd name="T62" fmla="*/ 22 w 94"/>
              <a:gd name="T63" fmla="*/ 49 h 107"/>
              <a:gd name="T64" fmla="*/ 0 w 94"/>
              <a:gd name="T65" fmla="*/ 63 h 107"/>
              <a:gd name="T66" fmla="*/ 0 w 94"/>
              <a:gd name="T67" fmla="*/ 67 h 10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4"/>
              <a:gd name="T103" fmla="*/ 0 h 107"/>
              <a:gd name="T104" fmla="*/ 94 w 94"/>
              <a:gd name="T105" fmla="*/ 107 h 10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4" h="107">
                <a:moveTo>
                  <a:pt x="0" y="67"/>
                </a:moveTo>
                <a:lnTo>
                  <a:pt x="4" y="67"/>
                </a:lnTo>
                <a:lnTo>
                  <a:pt x="4" y="72"/>
                </a:lnTo>
                <a:lnTo>
                  <a:pt x="13" y="72"/>
                </a:lnTo>
                <a:lnTo>
                  <a:pt x="22" y="72"/>
                </a:lnTo>
                <a:lnTo>
                  <a:pt x="18" y="85"/>
                </a:lnTo>
                <a:lnTo>
                  <a:pt x="22" y="85"/>
                </a:lnTo>
                <a:lnTo>
                  <a:pt x="13" y="90"/>
                </a:lnTo>
                <a:lnTo>
                  <a:pt x="9" y="98"/>
                </a:lnTo>
                <a:lnTo>
                  <a:pt x="13" y="103"/>
                </a:lnTo>
                <a:lnTo>
                  <a:pt x="22" y="107"/>
                </a:lnTo>
                <a:lnTo>
                  <a:pt x="27" y="103"/>
                </a:lnTo>
                <a:lnTo>
                  <a:pt x="36" y="98"/>
                </a:lnTo>
                <a:lnTo>
                  <a:pt x="45" y="98"/>
                </a:lnTo>
                <a:lnTo>
                  <a:pt x="62" y="90"/>
                </a:lnTo>
                <a:lnTo>
                  <a:pt x="62" y="85"/>
                </a:lnTo>
                <a:lnTo>
                  <a:pt x="49" y="81"/>
                </a:lnTo>
                <a:lnTo>
                  <a:pt x="49" y="76"/>
                </a:lnTo>
                <a:lnTo>
                  <a:pt x="58" y="63"/>
                </a:lnTo>
                <a:lnTo>
                  <a:pt x="71" y="58"/>
                </a:lnTo>
                <a:lnTo>
                  <a:pt x="80" y="49"/>
                </a:lnTo>
                <a:lnTo>
                  <a:pt x="85" y="40"/>
                </a:lnTo>
                <a:lnTo>
                  <a:pt x="85" y="22"/>
                </a:lnTo>
                <a:lnTo>
                  <a:pt x="94" y="14"/>
                </a:lnTo>
                <a:lnTo>
                  <a:pt x="85" y="0"/>
                </a:lnTo>
                <a:lnTo>
                  <a:pt x="76" y="9"/>
                </a:lnTo>
                <a:lnTo>
                  <a:pt x="62" y="22"/>
                </a:lnTo>
                <a:lnTo>
                  <a:pt x="62" y="36"/>
                </a:lnTo>
                <a:lnTo>
                  <a:pt x="45" y="27"/>
                </a:lnTo>
                <a:lnTo>
                  <a:pt x="40" y="31"/>
                </a:lnTo>
                <a:lnTo>
                  <a:pt x="27" y="49"/>
                </a:lnTo>
                <a:lnTo>
                  <a:pt x="22" y="49"/>
                </a:lnTo>
                <a:lnTo>
                  <a:pt x="0" y="63"/>
                </a:lnTo>
                <a:lnTo>
                  <a:pt x="0" y="67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2" name="Freeform 163"/>
          <p:cNvSpPr>
            <a:spLocks/>
          </p:cNvSpPr>
          <p:nvPr/>
        </p:nvSpPr>
        <p:spPr bwMode="gray">
          <a:xfrm>
            <a:off x="3889694" y="4348876"/>
            <a:ext cx="67079" cy="91346"/>
          </a:xfrm>
          <a:custGeom>
            <a:avLst/>
            <a:gdLst>
              <a:gd name="T0" fmla="*/ 9 w 49"/>
              <a:gd name="T1" fmla="*/ 8 h 75"/>
              <a:gd name="T2" fmla="*/ 4 w 49"/>
              <a:gd name="T3" fmla="*/ 17 h 75"/>
              <a:gd name="T4" fmla="*/ 9 w 49"/>
              <a:gd name="T5" fmla="*/ 31 h 75"/>
              <a:gd name="T6" fmla="*/ 0 w 49"/>
              <a:gd name="T7" fmla="*/ 31 h 75"/>
              <a:gd name="T8" fmla="*/ 0 w 49"/>
              <a:gd name="T9" fmla="*/ 35 h 75"/>
              <a:gd name="T10" fmla="*/ 4 w 49"/>
              <a:gd name="T11" fmla="*/ 44 h 75"/>
              <a:gd name="T12" fmla="*/ 4 w 49"/>
              <a:gd name="T13" fmla="*/ 35 h 75"/>
              <a:gd name="T14" fmla="*/ 4 w 49"/>
              <a:gd name="T15" fmla="*/ 53 h 75"/>
              <a:gd name="T16" fmla="*/ 9 w 49"/>
              <a:gd name="T17" fmla="*/ 53 h 75"/>
              <a:gd name="T18" fmla="*/ 4 w 49"/>
              <a:gd name="T19" fmla="*/ 62 h 75"/>
              <a:gd name="T20" fmla="*/ 4 w 49"/>
              <a:gd name="T21" fmla="*/ 75 h 75"/>
              <a:gd name="T22" fmla="*/ 13 w 49"/>
              <a:gd name="T23" fmla="*/ 75 h 75"/>
              <a:gd name="T24" fmla="*/ 18 w 49"/>
              <a:gd name="T25" fmla="*/ 71 h 75"/>
              <a:gd name="T26" fmla="*/ 22 w 49"/>
              <a:gd name="T27" fmla="*/ 75 h 75"/>
              <a:gd name="T28" fmla="*/ 26 w 49"/>
              <a:gd name="T29" fmla="*/ 71 h 75"/>
              <a:gd name="T30" fmla="*/ 26 w 49"/>
              <a:gd name="T31" fmla="*/ 67 h 75"/>
              <a:gd name="T32" fmla="*/ 35 w 49"/>
              <a:gd name="T33" fmla="*/ 71 h 75"/>
              <a:gd name="T34" fmla="*/ 35 w 49"/>
              <a:gd name="T35" fmla="*/ 58 h 75"/>
              <a:gd name="T36" fmla="*/ 40 w 49"/>
              <a:gd name="T37" fmla="*/ 62 h 75"/>
              <a:gd name="T38" fmla="*/ 49 w 49"/>
              <a:gd name="T39" fmla="*/ 53 h 75"/>
              <a:gd name="T40" fmla="*/ 49 w 49"/>
              <a:gd name="T41" fmla="*/ 26 h 75"/>
              <a:gd name="T42" fmla="*/ 35 w 49"/>
              <a:gd name="T43" fmla="*/ 0 h 75"/>
              <a:gd name="T44" fmla="*/ 18 w 49"/>
              <a:gd name="T45" fmla="*/ 8 h 75"/>
              <a:gd name="T46" fmla="*/ 9 w 49"/>
              <a:gd name="T47" fmla="*/ 8 h 7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9"/>
              <a:gd name="T73" fmla="*/ 0 h 75"/>
              <a:gd name="T74" fmla="*/ 49 w 49"/>
              <a:gd name="T75" fmla="*/ 75 h 7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9" h="75">
                <a:moveTo>
                  <a:pt x="9" y="8"/>
                </a:moveTo>
                <a:lnTo>
                  <a:pt x="4" y="17"/>
                </a:lnTo>
                <a:lnTo>
                  <a:pt x="9" y="31"/>
                </a:lnTo>
                <a:lnTo>
                  <a:pt x="0" y="31"/>
                </a:lnTo>
                <a:lnTo>
                  <a:pt x="0" y="35"/>
                </a:lnTo>
                <a:lnTo>
                  <a:pt x="4" y="44"/>
                </a:lnTo>
                <a:lnTo>
                  <a:pt x="4" y="35"/>
                </a:lnTo>
                <a:lnTo>
                  <a:pt x="4" y="53"/>
                </a:lnTo>
                <a:lnTo>
                  <a:pt x="9" y="53"/>
                </a:lnTo>
                <a:lnTo>
                  <a:pt x="4" y="62"/>
                </a:lnTo>
                <a:lnTo>
                  <a:pt x="4" y="75"/>
                </a:lnTo>
                <a:lnTo>
                  <a:pt x="13" y="75"/>
                </a:lnTo>
                <a:lnTo>
                  <a:pt x="18" y="71"/>
                </a:lnTo>
                <a:lnTo>
                  <a:pt x="22" y="75"/>
                </a:lnTo>
                <a:lnTo>
                  <a:pt x="26" y="71"/>
                </a:lnTo>
                <a:lnTo>
                  <a:pt x="26" y="67"/>
                </a:lnTo>
                <a:lnTo>
                  <a:pt x="35" y="71"/>
                </a:lnTo>
                <a:lnTo>
                  <a:pt x="35" y="58"/>
                </a:lnTo>
                <a:lnTo>
                  <a:pt x="40" y="62"/>
                </a:lnTo>
                <a:lnTo>
                  <a:pt x="49" y="53"/>
                </a:lnTo>
                <a:lnTo>
                  <a:pt x="49" y="26"/>
                </a:lnTo>
                <a:lnTo>
                  <a:pt x="35" y="0"/>
                </a:lnTo>
                <a:lnTo>
                  <a:pt x="18" y="8"/>
                </a:lnTo>
                <a:lnTo>
                  <a:pt x="9" y="8"/>
                </a:lnTo>
                <a:close/>
              </a:path>
            </a:pathLst>
          </a:custGeom>
          <a:solidFill>
            <a:schemeClr val="tx2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3" name="Freeform 164"/>
          <p:cNvSpPr>
            <a:spLocks/>
          </p:cNvSpPr>
          <p:nvPr/>
        </p:nvSpPr>
        <p:spPr bwMode="gray">
          <a:xfrm>
            <a:off x="2335925" y="4532786"/>
            <a:ext cx="42438" cy="32885"/>
          </a:xfrm>
          <a:custGeom>
            <a:avLst/>
            <a:gdLst>
              <a:gd name="T0" fmla="*/ 0 w 31"/>
              <a:gd name="T1" fmla="*/ 18 h 27"/>
              <a:gd name="T2" fmla="*/ 13 w 31"/>
              <a:gd name="T3" fmla="*/ 23 h 27"/>
              <a:gd name="T4" fmla="*/ 18 w 31"/>
              <a:gd name="T5" fmla="*/ 27 h 27"/>
              <a:gd name="T6" fmla="*/ 31 w 31"/>
              <a:gd name="T7" fmla="*/ 23 h 27"/>
              <a:gd name="T8" fmla="*/ 27 w 31"/>
              <a:gd name="T9" fmla="*/ 14 h 27"/>
              <a:gd name="T10" fmla="*/ 18 w 31"/>
              <a:gd name="T11" fmla="*/ 14 h 27"/>
              <a:gd name="T12" fmla="*/ 18 w 31"/>
              <a:gd name="T13" fmla="*/ 9 h 27"/>
              <a:gd name="T14" fmla="*/ 22 w 31"/>
              <a:gd name="T15" fmla="*/ 5 h 27"/>
              <a:gd name="T16" fmla="*/ 22 w 31"/>
              <a:gd name="T17" fmla="*/ 0 h 27"/>
              <a:gd name="T18" fmla="*/ 9 w 31"/>
              <a:gd name="T19" fmla="*/ 5 h 27"/>
              <a:gd name="T20" fmla="*/ 9 w 31"/>
              <a:gd name="T21" fmla="*/ 14 h 27"/>
              <a:gd name="T22" fmla="*/ 0 w 31"/>
              <a:gd name="T23" fmla="*/ 18 h 2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1"/>
              <a:gd name="T37" fmla="*/ 0 h 27"/>
              <a:gd name="T38" fmla="*/ 31 w 31"/>
              <a:gd name="T39" fmla="*/ 27 h 2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1" h="27">
                <a:moveTo>
                  <a:pt x="0" y="18"/>
                </a:moveTo>
                <a:lnTo>
                  <a:pt x="13" y="23"/>
                </a:lnTo>
                <a:lnTo>
                  <a:pt x="18" y="27"/>
                </a:lnTo>
                <a:lnTo>
                  <a:pt x="31" y="23"/>
                </a:lnTo>
                <a:lnTo>
                  <a:pt x="27" y="14"/>
                </a:lnTo>
                <a:lnTo>
                  <a:pt x="18" y="14"/>
                </a:lnTo>
                <a:lnTo>
                  <a:pt x="18" y="9"/>
                </a:lnTo>
                <a:lnTo>
                  <a:pt x="22" y="5"/>
                </a:lnTo>
                <a:lnTo>
                  <a:pt x="22" y="0"/>
                </a:lnTo>
                <a:lnTo>
                  <a:pt x="9" y="5"/>
                </a:lnTo>
                <a:lnTo>
                  <a:pt x="9" y="14"/>
                </a:lnTo>
                <a:lnTo>
                  <a:pt x="0" y="18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4" name="Freeform 165"/>
          <p:cNvSpPr>
            <a:spLocks/>
          </p:cNvSpPr>
          <p:nvPr/>
        </p:nvSpPr>
        <p:spPr bwMode="gray">
          <a:xfrm>
            <a:off x="2782206" y="4245351"/>
            <a:ext cx="214927" cy="86474"/>
          </a:xfrm>
          <a:custGeom>
            <a:avLst/>
            <a:gdLst>
              <a:gd name="T0" fmla="*/ 23 w 157"/>
              <a:gd name="T1" fmla="*/ 58 h 71"/>
              <a:gd name="T2" fmla="*/ 18 w 157"/>
              <a:gd name="T3" fmla="*/ 62 h 71"/>
              <a:gd name="T4" fmla="*/ 14 w 157"/>
              <a:gd name="T5" fmla="*/ 53 h 71"/>
              <a:gd name="T6" fmla="*/ 5 w 157"/>
              <a:gd name="T7" fmla="*/ 58 h 71"/>
              <a:gd name="T8" fmla="*/ 0 w 157"/>
              <a:gd name="T9" fmla="*/ 67 h 71"/>
              <a:gd name="T10" fmla="*/ 18 w 157"/>
              <a:gd name="T11" fmla="*/ 67 h 71"/>
              <a:gd name="T12" fmla="*/ 27 w 157"/>
              <a:gd name="T13" fmla="*/ 71 h 71"/>
              <a:gd name="T14" fmla="*/ 36 w 157"/>
              <a:gd name="T15" fmla="*/ 67 h 71"/>
              <a:gd name="T16" fmla="*/ 49 w 157"/>
              <a:gd name="T17" fmla="*/ 71 h 71"/>
              <a:gd name="T18" fmla="*/ 63 w 157"/>
              <a:gd name="T19" fmla="*/ 67 h 71"/>
              <a:gd name="T20" fmla="*/ 76 w 157"/>
              <a:gd name="T21" fmla="*/ 53 h 71"/>
              <a:gd name="T22" fmla="*/ 90 w 157"/>
              <a:gd name="T23" fmla="*/ 44 h 71"/>
              <a:gd name="T24" fmla="*/ 107 w 157"/>
              <a:gd name="T25" fmla="*/ 40 h 71"/>
              <a:gd name="T26" fmla="*/ 143 w 157"/>
              <a:gd name="T27" fmla="*/ 26 h 71"/>
              <a:gd name="T28" fmla="*/ 157 w 157"/>
              <a:gd name="T29" fmla="*/ 17 h 71"/>
              <a:gd name="T30" fmla="*/ 157 w 157"/>
              <a:gd name="T31" fmla="*/ 13 h 71"/>
              <a:gd name="T32" fmla="*/ 148 w 157"/>
              <a:gd name="T33" fmla="*/ 9 h 71"/>
              <a:gd name="T34" fmla="*/ 148 w 157"/>
              <a:gd name="T35" fmla="*/ 4 h 71"/>
              <a:gd name="T36" fmla="*/ 134 w 157"/>
              <a:gd name="T37" fmla="*/ 9 h 71"/>
              <a:gd name="T38" fmla="*/ 85 w 157"/>
              <a:gd name="T39" fmla="*/ 9 h 71"/>
              <a:gd name="T40" fmla="*/ 67 w 157"/>
              <a:gd name="T41" fmla="*/ 0 h 71"/>
              <a:gd name="T42" fmla="*/ 63 w 157"/>
              <a:gd name="T43" fmla="*/ 13 h 71"/>
              <a:gd name="T44" fmla="*/ 45 w 157"/>
              <a:gd name="T45" fmla="*/ 4 h 71"/>
              <a:gd name="T46" fmla="*/ 27 w 157"/>
              <a:gd name="T47" fmla="*/ 9 h 71"/>
              <a:gd name="T48" fmla="*/ 31 w 157"/>
              <a:gd name="T49" fmla="*/ 17 h 71"/>
              <a:gd name="T50" fmla="*/ 18 w 157"/>
              <a:gd name="T51" fmla="*/ 31 h 71"/>
              <a:gd name="T52" fmla="*/ 23 w 157"/>
              <a:gd name="T53" fmla="*/ 35 h 71"/>
              <a:gd name="T54" fmla="*/ 40 w 157"/>
              <a:gd name="T55" fmla="*/ 35 h 71"/>
              <a:gd name="T56" fmla="*/ 58 w 157"/>
              <a:gd name="T57" fmla="*/ 40 h 71"/>
              <a:gd name="T58" fmla="*/ 54 w 157"/>
              <a:gd name="T59" fmla="*/ 49 h 71"/>
              <a:gd name="T60" fmla="*/ 45 w 157"/>
              <a:gd name="T61" fmla="*/ 49 h 71"/>
              <a:gd name="T62" fmla="*/ 31 w 157"/>
              <a:gd name="T63" fmla="*/ 49 h 71"/>
              <a:gd name="T64" fmla="*/ 31 w 157"/>
              <a:gd name="T65" fmla="*/ 62 h 71"/>
              <a:gd name="T66" fmla="*/ 27 w 157"/>
              <a:gd name="T67" fmla="*/ 53 h 7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57"/>
              <a:gd name="T103" fmla="*/ 0 h 71"/>
              <a:gd name="T104" fmla="*/ 157 w 157"/>
              <a:gd name="T105" fmla="*/ 71 h 7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57" h="71">
                <a:moveTo>
                  <a:pt x="27" y="53"/>
                </a:moveTo>
                <a:lnTo>
                  <a:pt x="23" y="58"/>
                </a:lnTo>
                <a:lnTo>
                  <a:pt x="23" y="62"/>
                </a:lnTo>
                <a:lnTo>
                  <a:pt x="18" y="62"/>
                </a:lnTo>
                <a:lnTo>
                  <a:pt x="18" y="58"/>
                </a:lnTo>
                <a:lnTo>
                  <a:pt x="14" y="53"/>
                </a:lnTo>
                <a:lnTo>
                  <a:pt x="5" y="53"/>
                </a:lnTo>
                <a:lnTo>
                  <a:pt x="5" y="58"/>
                </a:lnTo>
                <a:lnTo>
                  <a:pt x="0" y="62"/>
                </a:lnTo>
                <a:lnTo>
                  <a:pt x="0" y="67"/>
                </a:lnTo>
                <a:lnTo>
                  <a:pt x="14" y="67"/>
                </a:lnTo>
                <a:lnTo>
                  <a:pt x="18" y="67"/>
                </a:lnTo>
                <a:lnTo>
                  <a:pt x="23" y="67"/>
                </a:lnTo>
                <a:lnTo>
                  <a:pt x="27" y="71"/>
                </a:lnTo>
                <a:lnTo>
                  <a:pt x="31" y="67"/>
                </a:lnTo>
                <a:lnTo>
                  <a:pt x="36" y="67"/>
                </a:lnTo>
                <a:lnTo>
                  <a:pt x="36" y="71"/>
                </a:lnTo>
                <a:lnTo>
                  <a:pt x="49" y="71"/>
                </a:lnTo>
                <a:lnTo>
                  <a:pt x="54" y="67"/>
                </a:lnTo>
                <a:lnTo>
                  <a:pt x="63" y="67"/>
                </a:lnTo>
                <a:lnTo>
                  <a:pt x="63" y="58"/>
                </a:lnTo>
                <a:lnTo>
                  <a:pt x="76" y="53"/>
                </a:lnTo>
                <a:lnTo>
                  <a:pt x="81" y="44"/>
                </a:lnTo>
                <a:lnTo>
                  <a:pt x="90" y="44"/>
                </a:lnTo>
                <a:lnTo>
                  <a:pt x="98" y="53"/>
                </a:lnTo>
                <a:lnTo>
                  <a:pt x="107" y="40"/>
                </a:lnTo>
                <a:lnTo>
                  <a:pt x="125" y="40"/>
                </a:lnTo>
                <a:lnTo>
                  <a:pt x="143" y="26"/>
                </a:lnTo>
                <a:lnTo>
                  <a:pt x="157" y="22"/>
                </a:lnTo>
                <a:lnTo>
                  <a:pt x="157" y="17"/>
                </a:lnTo>
                <a:lnTo>
                  <a:pt x="157" y="13"/>
                </a:lnTo>
                <a:lnTo>
                  <a:pt x="148" y="13"/>
                </a:lnTo>
                <a:lnTo>
                  <a:pt x="148" y="9"/>
                </a:lnTo>
                <a:lnTo>
                  <a:pt x="143" y="9"/>
                </a:lnTo>
                <a:lnTo>
                  <a:pt x="148" y="4"/>
                </a:lnTo>
                <a:lnTo>
                  <a:pt x="143" y="4"/>
                </a:lnTo>
                <a:lnTo>
                  <a:pt x="134" y="9"/>
                </a:lnTo>
                <a:lnTo>
                  <a:pt x="103" y="4"/>
                </a:lnTo>
                <a:lnTo>
                  <a:pt x="85" y="9"/>
                </a:lnTo>
                <a:lnTo>
                  <a:pt x="81" y="4"/>
                </a:lnTo>
                <a:lnTo>
                  <a:pt x="67" y="0"/>
                </a:lnTo>
                <a:lnTo>
                  <a:pt x="63" y="0"/>
                </a:lnTo>
                <a:lnTo>
                  <a:pt x="63" y="13"/>
                </a:lnTo>
                <a:lnTo>
                  <a:pt x="58" y="13"/>
                </a:lnTo>
                <a:lnTo>
                  <a:pt x="45" y="4"/>
                </a:lnTo>
                <a:lnTo>
                  <a:pt x="31" y="4"/>
                </a:lnTo>
                <a:lnTo>
                  <a:pt x="27" y="9"/>
                </a:lnTo>
                <a:lnTo>
                  <a:pt x="31" y="13"/>
                </a:lnTo>
                <a:lnTo>
                  <a:pt x="31" y="17"/>
                </a:lnTo>
                <a:lnTo>
                  <a:pt x="18" y="26"/>
                </a:lnTo>
                <a:lnTo>
                  <a:pt x="18" y="31"/>
                </a:lnTo>
                <a:lnTo>
                  <a:pt x="23" y="31"/>
                </a:lnTo>
                <a:lnTo>
                  <a:pt x="23" y="35"/>
                </a:lnTo>
                <a:lnTo>
                  <a:pt x="36" y="31"/>
                </a:lnTo>
                <a:lnTo>
                  <a:pt x="40" y="35"/>
                </a:lnTo>
                <a:lnTo>
                  <a:pt x="49" y="40"/>
                </a:lnTo>
                <a:lnTo>
                  <a:pt x="58" y="40"/>
                </a:lnTo>
                <a:lnTo>
                  <a:pt x="58" y="44"/>
                </a:lnTo>
                <a:lnTo>
                  <a:pt x="54" y="49"/>
                </a:lnTo>
                <a:lnTo>
                  <a:pt x="49" y="44"/>
                </a:lnTo>
                <a:lnTo>
                  <a:pt x="45" y="49"/>
                </a:lnTo>
                <a:lnTo>
                  <a:pt x="40" y="53"/>
                </a:lnTo>
                <a:lnTo>
                  <a:pt x="31" y="49"/>
                </a:lnTo>
                <a:lnTo>
                  <a:pt x="31" y="53"/>
                </a:lnTo>
                <a:lnTo>
                  <a:pt x="31" y="62"/>
                </a:lnTo>
                <a:lnTo>
                  <a:pt x="27" y="62"/>
                </a:lnTo>
                <a:lnTo>
                  <a:pt x="27" y="53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5" name="Freeform 166"/>
          <p:cNvSpPr>
            <a:spLocks/>
          </p:cNvSpPr>
          <p:nvPr/>
        </p:nvSpPr>
        <p:spPr bwMode="gray">
          <a:xfrm>
            <a:off x="3387286" y="4686247"/>
            <a:ext cx="135527" cy="152243"/>
          </a:xfrm>
          <a:custGeom>
            <a:avLst/>
            <a:gdLst>
              <a:gd name="T0" fmla="*/ 0 w 99"/>
              <a:gd name="T1" fmla="*/ 31 h 125"/>
              <a:gd name="T2" fmla="*/ 9 w 99"/>
              <a:gd name="T3" fmla="*/ 17 h 125"/>
              <a:gd name="T4" fmla="*/ 14 w 99"/>
              <a:gd name="T5" fmla="*/ 13 h 125"/>
              <a:gd name="T6" fmla="*/ 14 w 99"/>
              <a:gd name="T7" fmla="*/ 22 h 125"/>
              <a:gd name="T8" fmla="*/ 23 w 99"/>
              <a:gd name="T9" fmla="*/ 22 h 125"/>
              <a:gd name="T10" fmla="*/ 23 w 99"/>
              <a:gd name="T11" fmla="*/ 0 h 125"/>
              <a:gd name="T12" fmla="*/ 27 w 99"/>
              <a:gd name="T13" fmla="*/ 0 h 125"/>
              <a:gd name="T14" fmla="*/ 36 w 99"/>
              <a:gd name="T15" fmla="*/ 9 h 125"/>
              <a:gd name="T16" fmla="*/ 41 w 99"/>
              <a:gd name="T17" fmla="*/ 22 h 125"/>
              <a:gd name="T18" fmla="*/ 54 w 99"/>
              <a:gd name="T19" fmla="*/ 22 h 125"/>
              <a:gd name="T20" fmla="*/ 63 w 99"/>
              <a:gd name="T21" fmla="*/ 31 h 125"/>
              <a:gd name="T22" fmla="*/ 58 w 99"/>
              <a:gd name="T23" fmla="*/ 40 h 125"/>
              <a:gd name="T24" fmla="*/ 54 w 99"/>
              <a:gd name="T25" fmla="*/ 35 h 125"/>
              <a:gd name="T26" fmla="*/ 54 w 99"/>
              <a:gd name="T27" fmla="*/ 49 h 125"/>
              <a:gd name="T28" fmla="*/ 67 w 99"/>
              <a:gd name="T29" fmla="*/ 58 h 125"/>
              <a:gd name="T30" fmla="*/ 85 w 99"/>
              <a:gd name="T31" fmla="*/ 89 h 125"/>
              <a:gd name="T32" fmla="*/ 94 w 99"/>
              <a:gd name="T33" fmla="*/ 93 h 125"/>
              <a:gd name="T34" fmla="*/ 99 w 99"/>
              <a:gd name="T35" fmla="*/ 120 h 125"/>
              <a:gd name="T36" fmla="*/ 90 w 99"/>
              <a:gd name="T37" fmla="*/ 116 h 125"/>
              <a:gd name="T38" fmla="*/ 85 w 99"/>
              <a:gd name="T39" fmla="*/ 116 h 125"/>
              <a:gd name="T40" fmla="*/ 81 w 99"/>
              <a:gd name="T41" fmla="*/ 125 h 125"/>
              <a:gd name="T42" fmla="*/ 72 w 99"/>
              <a:gd name="T43" fmla="*/ 125 h 125"/>
              <a:gd name="T44" fmla="*/ 67 w 99"/>
              <a:gd name="T45" fmla="*/ 120 h 125"/>
              <a:gd name="T46" fmla="*/ 76 w 99"/>
              <a:gd name="T47" fmla="*/ 102 h 125"/>
              <a:gd name="T48" fmla="*/ 63 w 99"/>
              <a:gd name="T49" fmla="*/ 89 h 125"/>
              <a:gd name="T50" fmla="*/ 54 w 99"/>
              <a:gd name="T51" fmla="*/ 62 h 125"/>
              <a:gd name="T52" fmla="*/ 45 w 99"/>
              <a:gd name="T53" fmla="*/ 62 h 125"/>
              <a:gd name="T54" fmla="*/ 36 w 99"/>
              <a:gd name="T55" fmla="*/ 71 h 125"/>
              <a:gd name="T56" fmla="*/ 27 w 99"/>
              <a:gd name="T57" fmla="*/ 67 h 125"/>
              <a:gd name="T58" fmla="*/ 14 w 99"/>
              <a:gd name="T59" fmla="*/ 80 h 125"/>
              <a:gd name="T60" fmla="*/ 14 w 99"/>
              <a:gd name="T61" fmla="*/ 44 h 125"/>
              <a:gd name="T62" fmla="*/ 5 w 99"/>
              <a:gd name="T63" fmla="*/ 40 h 125"/>
              <a:gd name="T64" fmla="*/ 9 w 99"/>
              <a:gd name="T65" fmla="*/ 35 h 125"/>
              <a:gd name="T66" fmla="*/ 0 w 99"/>
              <a:gd name="T67" fmla="*/ 31 h 12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9"/>
              <a:gd name="T103" fmla="*/ 0 h 125"/>
              <a:gd name="T104" fmla="*/ 99 w 99"/>
              <a:gd name="T105" fmla="*/ 125 h 125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9" h="125">
                <a:moveTo>
                  <a:pt x="0" y="31"/>
                </a:moveTo>
                <a:lnTo>
                  <a:pt x="9" y="17"/>
                </a:lnTo>
                <a:lnTo>
                  <a:pt x="14" y="13"/>
                </a:lnTo>
                <a:lnTo>
                  <a:pt x="14" y="22"/>
                </a:lnTo>
                <a:lnTo>
                  <a:pt x="23" y="22"/>
                </a:lnTo>
                <a:lnTo>
                  <a:pt x="23" y="0"/>
                </a:lnTo>
                <a:lnTo>
                  <a:pt x="27" y="0"/>
                </a:lnTo>
                <a:lnTo>
                  <a:pt x="36" y="9"/>
                </a:lnTo>
                <a:lnTo>
                  <a:pt x="41" y="22"/>
                </a:lnTo>
                <a:lnTo>
                  <a:pt x="54" y="22"/>
                </a:lnTo>
                <a:lnTo>
                  <a:pt x="63" y="31"/>
                </a:lnTo>
                <a:lnTo>
                  <a:pt x="58" y="40"/>
                </a:lnTo>
                <a:lnTo>
                  <a:pt x="54" y="35"/>
                </a:lnTo>
                <a:lnTo>
                  <a:pt x="54" y="49"/>
                </a:lnTo>
                <a:lnTo>
                  <a:pt x="67" y="58"/>
                </a:lnTo>
                <a:lnTo>
                  <a:pt x="85" y="89"/>
                </a:lnTo>
                <a:lnTo>
                  <a:pt x="94" y="93"/>
                </a:lnTo>
                <a:lnTo>
                  <a:pt x="99" y="120"/>
                </a:lnTo>
                <a:lnTo>
                  <a:pt x="90" y="116"/>
                </a:lnTo>
                <a:lnTo>
                  <a:pt x="85" y="116"/>
                </a:lnTo>
                <a:lnTo>
                  <a:pt x="81" y="125"/>
                </a:lnTo>
                <a:lnTo>
                  <a:pt x="72" y="125"/>
                </a:lnTo>
                <a:lnTo>
                  <a:pt x="67" y="120"/>
                </a:lnTo>
                <a:lnTo>
                  <a:pt x="76" y="102"/>
                </a:lnTo>
                <a:lnTo>
                  <a:pt x="63" y="89"/>
                </a:lnTo>
                <a:lnTo>
                  <a:pt x="54" y="62"/>
                </a:lnTo>
                <a:lnTo>
                  <a:pt x="45" y="62"/>
                </a:lnTo>
                <a:lnTo>
                  <a:pt x="36" y="71"/>
                </a:lnTo>
                <a:lnTo>
                  <a:pt x="27" y="67"/>
                </a:lnTo>
                <a:lnTo>
                  <a:pt x="14" y="80"/>
                </a:lnTo>
                <a:lnTo>
                  <a:pt x="14" y="44"/>
                </a:lnTo>
                <a:lnTo>
                  <a:pt x="5" y="40"/>
                </a:lnTo>
                <a:lnTo>
                  <a:pt x="9" y="35"/>
                </a:lnTo>
                <a:lnTo>
                  <a:pt x="0" y="31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6" name="Freeform 167"/>
          <p:cNvSpPr>
            <a:spLocks/>
          </p:cNvSpPr>
          <p:nvPr/>
        </p:nvSpPr>
        <p:spPr bwMode="gray">
          <a:xfrm>
            <a:off x="2110047" y="4435350"/>
            <a:ext cx="30117" cy="32885"/>
          </a:xfrm>
          <a:custGeom>
            <a:avLst/>
            <a:gdLst>
              <a:gd name="T0" fmla="*/ 9 w 22"/>
              <a:gd name="T1" fmla="*/ 0 h 27"/>
              <a:gd name="T2" fmla="*/ 4 w 22"/>
              <a:gd name="T3" fmla="*/ 13 h 27"/>
              <a:gd name="T4" fmla="*/ 4 w 22"/>
              <a:gd name="T5" fmla="*/ 18 h 27"/>
              <a:gd name="T6" fmla="*/ 0 w 22"/>
              <a:gd name="T7" fmla="*/ 27 h 27"/>
              <a:gd name="T8" fmla="*/ 4 w 22"/>
              <a:gd name="T9" fmla="*/ 27 h 27"/>
              <a:gd name="T10" fmla="*/ 13 w 22"/>
              <a:gd name="T11" fmla="*/ 22 h 27"/>
              <a:gd name="T12" fmla="*/ 22 w 22"/>
              <a:gd name="T13" fmla="*/ 9 h 27"/>
              <a:gd name="T14" fmla="*/ 18 w 22"/>
              <a:gd name="T15" fmla="*/ 0 h 27"/>
              <a:gd name="T16" fmla="*/ 9 w 22"/>
              <a:gd name="T17" fmla="*/ 0 h 2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2"/>
              <a:gd name="T28" fmla="*/ 0 h 27"/>
              <a:gd name="T29" fmla="*/ 22 w 22"/>
              <a:gd name="T30" fmla="*/ 27 h 2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2" h="27">
                <a:moveTo>
                  <a:pt x="9" y="0"/>
                </a:moveTo>
                <a:lnTo>
                  <a:pt x="4" y="13"/>
                </a:lnTo>
                <a:lnTo>
                  <a:pt x="4" y="18"/>
                </a:lnTo>
                <a:lnTo>
                  <a:pt x="0" y="27"/>
                </a:lnTo>
                <a:lnTo>
                  <a:pt x="4" y="27"/>
                </a:lnTo>
                <a:lnTo>
                  <a:pt x="13" y="22"/>
                </a:lnTo>
                <a:lnTo>
                  <a:pt x="22" y="9"/>
                </a:lnTo>
                <a:lnTo>
                  <a:pt x="18" y="0"/>
                </a:lnTo>
                <a:lnTo>
                  <a:pt x="9" y="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7" name="Freeform 168"/>
          <p:cNvSpPr>
            <a:spLocks noEditPoints="1"/>
          </p:cNvSpPr>
          <p:nvPr/>
        </p:nvSpPr>
        <p:spPr bwMode="gray">
          <a:xfrm>
            <a:off x="3387286" y="4957849"/>
            <a:ext cx="379202" cy="119359"/>
          </a:xfrm>
          <a:custGeom>
            <a:avLst/>
            <a:gdLst>
              <a:gd name="T0" fmla="*/ 0 w 277"/>
              <a:gd name="T1" fmla="*/ 18 h 98"/>
              <a:gd name="T2" fmla="*/ 5 w 277"/>
              <a:gd name="T3" fmla="*/ 36 h 98"/>
              <a:gd name="T4" fmla="*/ 5 w 277"/>
              <a:gd name="T5" fmla="*/ 49 h 98"/>
              <a:gd name="T6" fmla="*/ 14 w 277"/>
              <a:gd name="T7" fmla="*/ 54 h 98"/>
              <a:gd name="T8" fmla="*/ 50 w 277"/>
              <a:gd name="T9" fmla="*/ 89 h 98"/>
              <a:gd name="T10" fmla="*/ 58 w 277"/>
              <a:gd name="T11" fmla="*/ 89 h 98"/>
              <a:gd name="T12" fmla="*/ 54 w 277"/>
              <a:gd name="T13" fmla="*/ 72 h 98"/>
              <a:gd name="T14" fmla="*/ 45 w 277"/>
              <a:gd name="T15" fmla="*/ 40 h 98"/>
              <a:gd name="T16" fmla="*/ 27 w 277"/>
              <a:gd name="T17" fmla="*/ 18 h 98"/>
              <a:gd name="T18" fmla="*/ 14 w 277"/>
              <a:gd name="T19" fmla="*/ 27 h 98"/>
              <a:gd name="T20" fmla="*/ 0 w 277"/>
              <a:gd name="T21" fmla="*/ 18 h 98"/>
              <a:gd name="T22" fmla="*/ 201 w 277"/>
              <a:gd name="T23" fmla="*/ 45 h 98"/>
              <a:gd name="T24" fmla="*/ 210 w 277"/>
              <a:gd name="T25" fmla="*/ 40 h 98"/>
              <a:gd name="T26" fmla="*/ 219 w 277"/>
              <a:gd name="T27" fmla="*/ 31 h 98"/>
              <a:gd name="T28" fmla="*/ 224 w 277"/>
              <a:gd name="T29" fmla="*/ 22 h 98"/>
              <a:gd name="T30" fmla="*/ 246 w 277"/>
              <a:gd name="T31" fmla="*/ 0 h 98"/>
              <a:gd name="T32" fmla="*/ 237 w 277"/>
              <a:gd name="T33" fmla="*/ 13 h 98"/>
              <a:gd name="T34" fmla="*/ 251 w 277"/>
              <a:gd name="T35" fmla="*/ 18 h 98"/>
              <a:gd name="T36" fmla="*/ 255 w 277"/>
              <a:gd name="T37" fmla="*/ 22 h 98"/>
              <a:gd name="T38" fmla="*/ 259 w 277"/>
              <a:gd name="T39" fmla="*/ 22 h 98"/>
              <a:gd name="T40" fmla="*/ 273 w 277"/>
              <a:gd name="T41" fmla="*/ 36 h 98"/>
              <a:gd name="T42" fmla="*/ 255 w 277"/>
              <a:gd name="T43" fmla="*/ 36 h 98"/>
              <a:gd name="T44" fmla="*/ 268 w 277"/>
              <a:gd name="T45" fmla="*/ 45 h 98"/>
              <a:gd name="T46" fmla="*/ 233 w 277"/>
              <a:gd name="T47" fmla="*/ 45 h 98"/>
              <a:gd name="T48" fmla="*/ 210 w 277"/>
              <a:gd name="T49" fmla="*/ 76 h 98"/>
              <a:gd name="T50" fmla="*/ 184 w 277"/>
              <a:gd name="T51" fmla="*/ 89 h 98"/>
              <a:gd name="T52" fmla="*/ 157 w 277"/>
              <a:gd name="T53" fmla="*/ 98 h 98"/>
              <a:gd name="T54" fmla="*/ 134 w 277"/>
              <a:gd name="T55" fmla="*/ 80 h 98"/>
              <a:gd name="T56" fmla="*/ 143 w 277"/>
              <a:gd name="T57" fmla="*/ 85 h 98"/>
              <a:gd name="T58" fmla="*/ 157 w 277"/>
              <a:gd name="T59" fmla="*/ 89 h 98"/>
              <a:gd name="T60" fmla="*/ 161 w 277"/>
              <a:gd name="T61" fmla="*/ 67 h 98"/>
              <a:gd name="T62" fmla="*/ 197 w 277"/>
              <a:gd name="T63" fmla="*/ 49 h 9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77"/>
              <a:gd name="T97" fmla="*/ 0 h 98"/>
              <a:gd name="T98" fmla="*/ 277 w 277"/>
              <a:gd name="T99" fmla="*/ 98 h 9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77" h="98">
                <a:moveTo>
                  <a:pt x="0" y="18"/>
                </a:moveTo>
                <a:lnTo>
                  <a:pt x="0" y="18"/>
                </a:lnTo>
                <a:lnTo>
                  <a:pt x="0" y="36"/>
                </a:lnTo>
                <a:lnTo>
                  <a:pt x="5" y="36"/>
                </a:lnTo>
                <a:lnTo>
                  <a:pt x="5" y="40"/>
                </a:lnTo>
                <a:lnTo>
                  <a:pt x="5" y="49"/>
                </a:lnTo>
                <a:lnTo>
                  <a:pt x="9" y="49"/>
                </a:lnTo>
                <a:lnTo>
                  <a:pt x="14" y="54"/>
                </a:lnTo>
                <a:lnTo>
                  <a:pt x="18" y="72"/>
                </a:lnTo>
                <a:lnTo>
                  <a:pt x="50" y="89"/>
                </a:lnTo>
                <a:lnTo>
                  <a:pt x="54" y="85"/>
                </a:lnTo>
                <a:lnTo>
                  <a:pt x="58" y="89"/>
                </a:lnTo>
                <a:lnTo>
                  <a:pt x="63" y="89"/>
                </a:lnTo>
                <a:lnTo>
                  <a:pt x="54" y="72"/>
                </a:lnTo>
                <a:lnTo>
                  <a:pt x="45" y="67"/>
                </a:lnTo>
                <a:lnTo>
                  <a:pt x="45" y="40"/>
                </a:lnTo>
                <a:lnTo>
                  <a:pt x="32" y="18"/>
                </a:lnTo>
                <a:lnTo>
                  <a:pt x="27" y="18"/>
                </a:lnTo>
                <a:lnTo>
                  <a:pt x="23" y="27"/>
                </a:lnTo>
                <a:lnTo>
                  <a:pt x="14" y="27"/>
                </a:lnTo>
                <a:lnTo>
                  <a:pt x="5" y="13"/>
                </a:lnTo>
                <a:lnTo>
                  <a:pt x="0" y="18"/>
                </a:lnTo>
                <a:close/>
                <a:moveTo>
                  <a:pt x="197" y="40"/>
                </a:moveTo>
                <a:lnTo>
                  <a:pt x="201" y="45"/>
                </a:lnTo>
                <a:lnTo>
                  <a:pt x="210" y="49"/>
                </a:lnTo>
                <a:lnTo>
                  <a:pt x="210" y="40"/>
                </a:lnTo>
                <a:lnTo>
                  <a:pt x="215" y="45"/>
                </a:lnTo>
                <a:lnTo>
                  <a:pt x="219" y="31"/>
                </a:lnTo>
                <a:lnTo>
                  <a:pt x="215" y="27"/>
                </a:lnTo>
                <a:lnTo>
                  <a:pt x="224" y="22"/>
                </a:lnTo>
                <a:lnTo>
                  <a:pt x="242" y="0"/>
                </a:lnTo>
                <a:lnTo>
                  <a:pt x="246" y="0"/>
                </a:lnTo>
                <a:lnTo>
                  <a:pt x="242" y="4"/>
                </a:lnTo>
                <a:lnTo>
                  <a:pt x="237" y="13"/>
                </a:lnTo>
                <a:lnTo>
                  <a:pt x="242" y="9"/>
                </a:lnTo>
                <a:lnTo>
                  <a:pt x="251" y="18"/>
                </a:lnTo>
                <a:lnTo>
                  <a:pt x="246" y="22"/>
                </a:lnTo>
                <a:lnTo>
                  <a:pt x="255" y="22"/>
                </a:lnTo>
                <a:lnTo>
                  <a:pt x="255" y="27"/>
                </a:lnTo>
                <a:lnTo>
                  <a:pt x="259" y="22"/>
                </a:lnTo>
                <a:lnTo>
                  <a:pt x="277" y="31"/>
                </a:lnTo>
                <a:lnTo>
                  <a:pt x="273" y="36"/>
                </a:lnTo>
                <a:lnTo>
                  <a:pt x="259" y="31"/>
                </a:lnTo>
                <a:lnTo>
                  <a:pt x="255" y="36"/>
                </a:lnTo>
                <a:lnTo>
                  <a:pt x="268" y="40"/>
                </a:lnTo>
                <a:lnTo>
                  <a:pt x="268" y="45"/>
                </a:lnTo>
                <a:lnTo>
                  <a:pt x="251" y="45"/>
                </a:lnTo>
                <a:lnTo>
                  <a:pt x="233" y="45"/>
                </a:lnTo>
                <a:lnTo>
                  <a:pt x="224" y="49"/>
                </a:lnTo>
                <a:lnTo>
                  <a:pt x="210" y="76"/>
                </a:lnTo>
                <a:lnTo>
                  <a:pt x="206" y="89"/>
                </a:lnTo>
                <a:lnTo>
                  <a:pt x="184" y="89"/>
                </a:lnTo>
                <a:lnTo>
                  <a:pt x="175" y="98"/>
                </a:lnTo>
                <a:lnTo>
                  <a:pt x="157" y="98"/>
                </a:lnTo>
                <a:lnTo>
                  <a:pt x="139" y="85"/>
                </a:lnTo>
                <a:lnTo>
                  <a:pt x="134" y="80"/>
                </a:lnTo>
                <a:lnTo>
                  <a:pt x="139" y="80"/>
                </a:lnTo>
                <a:lnTo>
                  <a:pt x="143" y="85"/>
                </a:lnTo>
                <a:lnTo>
                  <a:pt x="148" y="85"/>
                </a:lnTo>
                <a:lnTo>
                  <a:pt x="157" y="89"/>
                </a:lnTo>
                <a:lnTo>
                  <a:pt x="161" y="76"/>
                </a:lnTo>
                <a:lnTo>
                  <a:pt x="161" y="67"/>
                </a:lnTo>
                <a:lnTo>
                  <a:pt x="188" y="63"/>
                </a:lnTo>
                <a:lnTo>
                  <a:pt x="197" y="49"/>
                </a:lnTo>
                <a:lnTo>
                  <a:pt x="197" y="40"/>
                </a:lnTo>
                <a:close/>
              </a:path>
            </a:pathLst>
          </a:custGeom>
          <a:solidFill>
            <a:srgbClr val="FF9933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8" name="Freeform 169"/>
          <p:cNvSpPr>
            <a:spLocks noEditPoints="1"/>
          </p:cNvSpPr>
          <p:nvPr/>
        </p:nvSpPr>
        <p:spPr bwMode="gray">
          <a:xfrm>
            <a:off x="2873926" y="4979772"/>
            <a:ext cx="12321" cy="48718"/>
          </a:xfrm>
          <a:custGeom>
            <a:avLst/>
            <a:gdLst>
              <a:gd name="T0" fmla="*/ 0 w 9"/>
              <a:gd name="T1" fmla="*/ 0 h 40"/>
              <a:gd name="T2" fmla="*/ 0 w 9"/>
              <a:gd name="T3" fmla="*/ 0 h 40"/>
              <a:gd name="T4" fmla="*/ 0 w 9"/>
              <a:gd name="T5" fmla="*/ 0 h 40"/>
              <a:gd name="T6" fmla="*/ 0 w 9"/>
              <a:gd name="T7" fmla="*/ 0 h 40"/>
              <a:gd name="T8" fmla="*/ 0 w 9"/>
              <a:gd name="T9" fmla="*/ 18 h 40"/>
              <a:gd name="T10" fmla="*/ 0 w 9"/>
              <a:gd name="T11" fmla="*/ 18 h 40"/>
              <a:gd name="T12" fmla="*/ 0 w 9"/>
              <a:gd name="T13" fmla="*/ 18 h 40"/>
              <a:gd name="T14" fmla="*/ 0 w 9"/>
              <a:gd name="T15" fmla="*/ 18 h 40"/>
              <a:gd name="T16" fmla="*/ 0 w 9"/>
              <a:gd name="T17" fmla="*/ 36 h 40"/>
              <a:gd name="T18" fmla="*/ 0 w 9"/>
              <a:gd name="T19" fmla="*/ 40 h 40"/>
              <a:gd name="T20" fmla="*/ 0 w 9"/>
              <a:gd name="T21" fmla="*/ 40 h 40"/>
              <a:gd name="T22" fmla="*/ 0 w 9"/>
              <a:gd name="T23" fmla="*/ 36 h 40"/>
              <a:gd name="T24" fmla="*/ 5 w 9"/>
              <a:gd name="T25" fmla="*/ 27 h 40"/>
              <a:gd name="T26" fmla="*/ 0 w 9"/>
              <a:gd name="T27" fmla="*/ 27 h 40"/>
              <a:gd name="T28" fmla="*/ 0 w 9"/>
              <a:gd name="T29" fmla="*/ 27 h 40"/>
              <a:gd name="T30" fmla="*/ 5 w 9"/>
              <a:gd name="T31" fmla="*/ 27 h 40"/>
              <a:gd name="T32" fmla="*/ 9 w 9"/>
              <a:gd name="T33" fmla="*/ 40 h 40"/>
              <a:gd name="T34" fmla="*/ 9 w 9"/>
              <a:gd name="T35" fmla="*/ 40 h 40"/>
              <a:gd name="T36" fmla="*/ 9 w 9"/>
              <a:gd name="T37" fmla="*/ 40 h 40"/>
              <a:gd name="T38" fmla="*/ 9 w 9"/>
              <a:gd name="T39" fmla="*/ 40 h 40"/>
              <a:gd name="T40" fmla="*/ 9 w 9"/>
              <a:gd name="T41" fmla="*/ 40 h 40"/>
              <a:gd name="T42" fmla="*/ 9 w 9"/>
              <a:gd name="T43" fmla="*/ 40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"/>
              <a:gd name="T67" fmla="*/ 0 h 40"/>
              <a:gd name="T68" fmla="*/ 9 w 9"/>
              <a:gd name="T69" fmla="*/ 40 h 4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" h="40">
                <a:moveTo>
                  <a:pt x="0" y="0"/>
                </a:moveTo>
                <a:lnTo>
                  <a:pt x="0" y="0"/>
                </a:lnTo>
                <a:close/>
                <a:moveTo>
                  <a:pt x="0" y="18"/>
                </a:moveTo>
                <a:lnTo>
                  <a:pt x="0" y="18"/>
                </a:lnTo>
                <a:close/>
                <a:moveTo>
                  <a:pt x="0" y="36"/>
                </a:moveTo>
                <a:lnTo>
                  <a:pt x="0" y="40"/>
                </a:lnTo>
                <a:lnTo>
                  <a:pt x="0" y="36"/>
                </a:lnTo>
                <a:close/>
                <a:moveTo>
                  <a:pt x="5" y="27"/>
                </a:moveTo>
                <a:lnTo>
                  <a:pt x="0" y="27"/>
                </a:lnTo>
                <a:lnTo>
                  <a:pt x="5" y="27"/>
                </a:lnTo>
                <a:close/>
                <a:moveTo>
                  <a:pt x="9" y="40"/>
                </a:moveTo>
                <a:lnTo>
                  <a:pt x="9" y="4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49" name="Freeform 170"/>
          <p:cNvSpPr>
            <a:spLocks/>
          </p:cNvSpPr>
          <p:nvPr/>
        </p:nvSpPr>
        <p:spPr bwMode="gray">
          <a:xfrm>
            <a:off x="3149087" y="4005415"/>
            <a:ext cx="624246" cy="271602"/>
          </a:xfrm>
          <a:custGeom>
            <a:avLst/>
            <a:gdLst>
              <a:gd name="T0" fmla="*/ 407 w 456"/>
              <a:gd name="T1" fmla="*/ 54 h 223"/>
              <a:gd name="T2" fmla="*/ 402 w 456"/>
              <a:gd name="T3" fmla="*/ 49 h 223"/>
              <a:gd name="T4" fmla="*/ 393 w 456"/>
              <a:gd name="T5" fmla="*/ 49 h 223"/>
              <a:gd name="T6" fmla="*/ 375 w 456"/>
              <a:gd name="T7" fmla="*/ 40 h 223"/>
              <a:gd name="T8" fmla="*/ 366 w 456"/>
              <a:gd name="T9" fmla="*/ 45 h 223"/>
              <a:gd name="T10" fmla="*/ 353 w 456"/>
              <a:gd name="T11" fmla="*/ 58 h 223"/>
              <a:gd name="T12" fmla="*/ 322 w 456"/>
              <a:gd name="T13" fmla="*/ 67 h 223"/>
              <a:gd name="T14" fmla="*/ 291 w 456"/>
              <a:gd name="T15" fmla="*/ 63 h 223"/>
              <a:gd name="T16" fmla="*/ 250 w 456"/>
              <a:gd name="T17" fmla="*/ 40 h 223"/>
              <a:gd name="T18" fmla="*/ 228 w 456"/>
              <a:gd name="T19" fmla="*/ 45 h 223"/>
              <a:gd name="T20" fmla="*/ 206 w 456"/>
              <a:gd name="T21" fmla="*/ 40 h 223"/>
              <a:gd name="T22" fmla="*/ 201 w 456"/>
              <a:gd name="T23" fmla="*/ 13 h 223"/>
              <a:gd name="T24" fmla="*/ 157 w 456"/>
              <a:gd name="T25" fmla="*/ 0 h 223"/>
              <a:gd name="T26" fmla="*/ 143 w 456"/>
              <a:gd name="T27" fmla="*/ 22 h 223"/>
              <a:gd name="T28" fmla="*/ 148 w 456"/>
              <a:gd name="T29" fmla="*/ 31 h 223"/>
              <a:gd name="T30" fmla="*/ 143 w 456"/>
              <a:gd name="T31" fmla="*/ 54 h 223"/>
              <a:gd name="T32" fmla="*/ 103 w 456"/>
              <a:gd name="T33" fmla="*/ 54 h 223"/>
              <a:gd name="T34" fmla="*/ 85 w 456"/>
              <a:gd name="T35" fmla="*/ 36 h 223"/>
              <a:gd name="T36" fmla="*/ 72 w 456"/>
              <a:gd name="T37" fmla="*/ 36 h 223"/>
              <a:gd name="T38" fmla="*/ 67 w 456"/>
              <a:gd name="T39" fmla="*/ 31 h 223"/>
              <a:gd name="T40" fmla="*/ 40 w 456"/>
              <a:gd name="T41" fmla="*/ 40 h 223"/>
              <a:gd name="T42" fmla="*/ 14 w 456"/>
              <a:gd name="T43" fmla="*/ 58 h 223"/>
              <a:gd name="T44" fmla="*/ 5 w 456"/>
              <a:gd name="T45" fmla="*/ 58 h 223"/>
              <a:gd name="T46" fmla="*/ 0 w 456"/>
              <a:gd name="T47" fmla="*/ 67 h 223"/>
              <a:gd name="T48" fmla="*/ 5 w 456"/>
              <a:gd name="T49" fmla="*/ 80 h 223"/>
              <a:gd name="T50" fmla="*/ 23 w 456"/>
              <a:gd name="T51" fmla="*/ 89 h 223"/>
              <a:gd name="T52" fmla="*/ 45 w 456"/>
              <a:gd name="T53" fmla="*/ 107 h 223"/>
              <a:gd name="T54" fmla="*/ 45 w 456"/>
              <a:gd name="T55" fmla="*/ 147 h 223"/>
              <a:gd name="T56" fmla="*/ 81 w 456"/>
              <a:gd name="T57" fmla="*/ 152 h 223"/>
              <a:gd name="T58" fmla="*/ 103 w 456"/>
              <a:gd name="T59" fmla="*/ 165 h 223"/>
              <a:gd name="T60" fmla="*/ 121 w 456"/>
              <a:gd name="T61" fmla="*/ 197 h 223"/>
              <a:gd name="T62" fmla="*/ 201 w 456"/>
              <a:gd name="T63" fmla="*/ 201 h 223"/>
              <a:gd name="T64" fmla="*/ 210 w 456"/>
              <a:gd name="T65" fmla="*/ 210 h 223"/>
              <a:gd name="T66" fmla="*/ 250 w 456"/>
              <a:gd name="T67" fmla="*/ 223 h 223"/>
              <a:gd name="T68" fmla="*/ 259 w 456"/>
              <a:gd name="T69" fmla="*/ 210 h 223"/>
              <a:gd name="T70" fmla="*/ 291 w 456"/>
              <a:gd name="T71" fmla="*/ 201 h 223"/>
              <a:gd name="T72" fmla="*/ 317 w 456"/>
              <a:gd name="T73" fmla="*/ 201 h 223"/>
              <a:gd name="T74" fmla="*/ 326 w 456"/>
              <a:gd name="T75" fmla="*/ 188 h 223"/>
              <a:gd name="T76" fmla="*/ 344 w 456"/>
              <a:gd name="T77" fmla="*/ 179 h 223"/>
              <a:gd name="T78" fmla="*/ 331 w 456"/>
              <a:gd name="T79" fmla="*/ 161 h 223"/>
              <a:gd name="T80" fmla="*/ 340 w 456"/>
              <a:gd name="T81" fmla="*/ 147 h 223"/>
              <a:gd name="T82" fmla="*/ 349 w 456"/>
              <a:gd name="T83" fmla="*/ 147 h 223"/>
              <a:gd name="T84" fmla="*/ 358 w 456"/>
              <a:gd name="T85" fmla="*/ 156 h 223"/>
              <a:gd name="T86" fmla="*/ 366 w 456"/>
              <a:gd name="T87" fmla="*/ 156 h 223"/>
              <a:gd name="T88" fmla="*/ 380 w 456"/>
              <a:gd name="T89" fmla="*/ 139 h 223"/>
              <a:gd name="T90" fmla="*/ 393 w 456"/>
              <a:gd name="T91" fmla="*/ 143 h 223"/>
              <a:gd name="T92" fmla="*/ 416 w 456"/>
              <a:gd name="T93" fmla="*/ 121 h 223"/>
              <a:gd name="T94" fmla="*/ 438 w 456"/>
              <a:gd name="T95" fmla="*/ 125 h 223"/>
              <a:gd name="T96" fmla="*/ 451 w 456"/>
              <a:gd name="T97" fmla="*/ 116 h 223"/>
              <a:gd name="T98" fmla="*/ 456 w 456"/>
              <a:gd name="T99" fmla="*/ 107 h 223"/>
              <a:gd name="T100" fmla="*/ 442 w 456"/>
              <a:gd name="T101" fmla="*/ 107 h 223"/>
              <a:gd name="T102" fmla="*/ 433 w 456"/>
              <a:gd name="T103" fmla="*/ 89 h 223"/>
              <a:gd name="T104" fmla="*/ 416 w 456"/>
              <a:gd name="T105" fmla="*/ 98 h 223"/>
              <a:gd name="T106" fmla="*/ 407 w 456"/>
              <a:gd name="T107" fmla="*/ 94 h 223"/>
              <a:gd name="T108" fmla="*/ 393 w 456"/>
              <a:gd name="T109" fmla="*/ 98 h 223"/>
              <a:gd name="T110" fmla="*/ 389 w 456"/>
              <a:gd name="T111" fmla="*/ 89 h 223"/>
              <a:gd name="T112" fmla="*/ 402 w 456"/>
              <a:gd name="T113" fmla="*/ 71 h 223"/>
              <a:gd name="T114" fmla="*/ 407 w 456"/>
              <a:gd name="T115" fmla="*/ 54 h 22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456"/>
              <a:gd name="T175" fmla="*/ 0 h 223"/>
              <a:gd name="T176" fmla="*/ 456 w 456"/>
              <a:gd name="T177" fmla="*/ 223 h 22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456" h="223">
                <a:moveTo>
                  <a:pt x="407" y="54"/>
                </a:moveTo>
                <a:lnTo>
                  <a:pt x="402" y="49"/>
                </a:lnTo>
                <a:lnTo>
                  <a:pt x="393" y="49"/>
                </a:lnTo>
                <a:lnTo>
                  <a:pt x="375" y="40"/>
                </a:lnTo>
                <a:lnTo>
                  <a:pt x="366" y="45"/>
                </a:lnTo>
                <a:lnTo>
                  <a:pt x="353" y="58"/>
                </a:lnTo>
                <a:lnTo>
                  <a:pt x="322" y="67"/>
                </a:lnTo>
                <a:lnTo>
                  <a:pt x="291" y="63"/>
                </a:lnTo>
                <a:lnTo>
                  <a:pt x="250" y="40"/>
                </a:lnTo>
                <a:lnTo>
                  <a:pt x="228" y="45"/>
                </a:lnTo>
                <a:lnTo>
                  <a:pt x="206" y="40"/>
                </a:lnTo>
                <a:lnTo>
                  <a:pt x="201" y="13"/>
                </a:lnTo>
                <a:lnTo>
                  <a:pt x="157" y="0"/>
                </a:lnTo>
                <a:lnTo>
                  <a:pt x="143" y="22"/>
                </a:lnTo>
                <a:lnTo>
                  <a:pt x="148" y="31"/>
                </a:lnTo>
                <a:lnTo>
                  <a:pt x="143" y="54"/>
                </a:lnTo>
                <a:lnTo>
                  <a:pt x="103" y="54"/>
                </a:lnTo>
                <a:lnTo>
                  <a:pt x="85" y="36"/>
                </a:lnTo>
                <a:lnTo>
                  <a:pt x="72" y="36"/>
                </a:lnTo>
                <a:lnTo>
                  <a:pt x="67" y="31"/>
                </a:lnTo>
                <a:lnTo>
                  <a:pt x="40" y="40"/>
                </a:lnTo>
                <a:lnTo>
                  <a:pt x="14" y="58"/>
                </a:lnTo>
                <a:lnTo>
                  <a:pt x="5" y="58"/>
                </a:lnTo>
                <a:lnTo>
                  <a:pt x="0" y="67"/>
                </a:lnTo>
                <a:lnTo>
                  <a:pt x="5" y="80"/>
                </a:lnTo>
                <a:lnTo>
                  <a:pt x="23" y="89"/>
                </a:lnTo>
                <a:lnTo>
                  <a:pt x="45" y="107"/>
                </a:lnTo>
                <a:lnTo>
                  <a:pt x="45" y="147"/>
                </a:lnTo>
                <a:lnTo>
                  <a:pt x="81" y="152"/>
                </a:lnTo>
                <a:lnTo>
                  <a:pt x="103" y="165"/>
                </a:lnTo>
                <a:lnTo>
                  <a:pt x="121" y="197"/>
                </a:lnTo>
                <a:lnTo>
                  <a:pt x="201" y="201"/>
                </a:lnTo>
                <a:lnTo>
                  <a:pt x="210" y="210"/>
                </a:lnTo>
                <a:lnTo>
                  <a:pt x="250" y="223"/>
                </a:lnTo>
                <a:lnTo>
                  <a:pt x="259" y="210"/>
                </a:lnTo>
                <a:lnTo>
                  <a:pt x="291" y="201"/>
                </a:lnTo>
                <a:lnTo>
                  <a:pt x="317" y="201"/>
                </a:lnTo>
                <a:lnTo>
                  <a:pt x="326" y="188"/>
                </a:lnTo>
                <a:lnTo>
                  <a:pt x="344" y="179"/>
                </a:lnTo>
                <a:lnTo>
                  <a:pt x="331" y="161"/>
                </a:lnTo>
                <a:lnTo>
                  <a:pt x="340" y="147"/>
                </a:lnTo>
                <a:lnTo>
                  <a:pt x="349" y="147"/>
                </a:lnTo>
                <a:lnTo>
                  <a:pt x="358" y="156"/>
                </a:lnTo>
                <a:lnTo>
                  <a:pt x="366" y="156"/>
                </a:lnTo>
                <a:lnTo>
                  <a:pt x="380" y="139"/>
                </a:lnTo>
                <a:lnTo>
                  <a:pt x="393" y="143"/>
                </a:lnTo>
                <a:lnTo>
                  <a:pt x="416" y="121"/>
                </a:lnTo>
                <a:lnTo>
                  <a:pt x="438" y="125"/>
                </a:lnTo>
                <a:lnTo>
                  <a:pt x="451" y="116"/>
                </a:lnTo>
                <a:lnTo>
                  <a:pt x="456" y="107"/>
                </a:lnTo>
                <a:lnTo>
                  <a:pt x="442" y="107"/>
                </a:lnTo>
                <a:lnTo>
                  <a:pt x="433" y="89"/>
                </a:lnTo>
                <a:lnTo>
                  <a:pt x="416" y="98"/>
                </a:lnTo>
                <a:lnTo>
                  <a:pt x="407" y="94"/>
                </a:lnTo>
                <a:lnTo>
                  <a:pt x="393" y="98"/>
                </a:lnTo>
                <a:lnTo>
                  <a:pt x="389" y="89"/>
                </a:lnTo>
                <a:lnTo>
                  <a:pt x="402" y="71"/>
                </a:lnTo>
                <a:lnTo>
                  <a:pt x="407" y="54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0" name="Freeform 171"/>
          <p:cNvSpPr>
            <a:spLocks noEditPoints="1"/>
          </p:cNvSpPr>
          <p:nvPr/>
        </p:nvSpPr>
        <p:spPr bwMode="gray">
          <a:xfrm>
            <a:off x="2464607" y="4604645"/>
            <a:ext cx="134158" cy="183910"/>
          </a:xfrm>
          <a:custGeom>
            <a:avLst/>
            <a:gdLst>
              <a:gd name="T0" fmla="*/ 0 w 98"/>
              <a:gd name="T1" fmla="*/ 129 h 151"/>
              <a:gd name="T2" fmla="*/ 4 w 98"/>
              <a:gd name="T3" fmla="*/ 151 h 151"/>
              <a:gd name="T4" fmla="*/ 22 w 98"/>
              <a:gd name="T5" fmla="*/ 147 h 151"/>
              <a:gd name="T6" fmla="*/ 36 w 98"/>
              <a:gd name="T7" fmla="*/ 151 h 151"/>
              <a:gd name="T8" fmla="*/ 36 w 98"/>
              <a:gd name="T9" fmla="*/ 134 h 151"/>
              <a:gd name="T10" fmla="*/ 49 w 98"/>
              <a:gd name="T11" fmla="*/ 134 h 151"/>
              <a:gd name="T12" fmla="*/ 54 w 98"/>
              <a:gd name="T13" fmla="*/ 120 h 151"/>
              <a:gd name="T14" fmla="*/ 71 w 98"/>
              <a:gd name="T15" fmla="*/ 120 h 151"/>
              <a:gd name="T16" fmla="*/ 71 w 98"/>
              <a:gd name="T17" fmla="*/ 102 h 151"/>
              <a:gd name="T18" fmla="*/ 80 w 98"/>
              <a:gd name="T19" fmla="*/ 102 h 151"/>
              <a:gd name="T20" fmla="*/ 85 w 98"/>
              <a:gd name="T21" fmla="*/ 98 h 151"/>
              <a:gd name="T22" fmla="*/ 80 w 98"/>
              <a:gd name="T23" fmla="*/ 98 h 151"/>
              <a:gd name="T24" fmla="*/ 89 w 98"/>
              <a:gd name="T25" fmla="*/ 84 h 151"/>
              <a:gd name="T26" fmla="*/ 98 w 98"/>
              <a:gd name="T27" fmla="*/ 67 h 151"/>
              <a:gd name="T28" fmla="*/ 89 w 98"/>
              <a:gd name="T29" fmla="*/ 62 h 151"/>
              <a:gd name="T30" fmla="*/ 80 w 98"/>
              <a:gd name="T31" fmla="*/ 44 h 151"/>
              <a:gd name="T32" fmla="*/ 58 w 98"/>
              <a:gd name="T33" fmla="*/ 40 h 151"/>
              <a:gd name="T34" fmla="*/ 49 w 98"/>
              <a:gd name="T35" fmla="*/ 31 h 151"/>
              <a:gd name="T36" fmla="*/ 45 w 98"/>
              <a:gd name="T37" fmla="*/ 22 h 151"/>
              <a:gd name="T38" fmla="*/ 40 w 98"/>
              <a:gd name="T39" fmla="*/ 26 h 151"/>
              <a:gd name="T40" fmla="*/ 31 w 98"/>
              <a:gd name="T41" fmla="*/ 40 h 151"/>
              <a:gd name="T42" fmla="*/ 31 w 98"/>
              <a:gd name="T43" fmla="*/ 67 h 151"/>
              <a:gd name="T44" fmla="*/ 40 w 98"/>
              <a:gd name="T45" fmla="*/ 62 h 151"/>
              <a:gd name="T46" fmla="*/ 54 w 98"/>
              <a:gd name="T47" fmla="*/ 67 h 151"/>
              <a:gd name="T48" fmla="*/ 58 w 98"/>
              <a:gd name="T49" fmla="*/ 89 h 151"/>
              <a:gd name="T50" fmla="*/ 54 w 98"/>
              <a:gd name="T51" fmla="*/ 102 h 151"/>
              <a:gd name="T52" fmla="*/ 40 w 98"/>
              <a:gd name="T53" fmla="*/ 107 h 151"/>
              <a:gd name="T54" fmla="*/ 0 w 98"/>
              <a:gd name="T55" fmla="*/ 129 h 151"/>
              <a:gd name="T56" fmla="*/ 40 w 98"/>
              <a:gd name="T57" fmla="*/ 8 h 151"/>
              <a:gd name="T58" fmla="*/ 45 w 98"/>
              <a:gd name="T59" fmla="*/ 8 h 151"/>
              <a:gd name="T60" fmla="*/ 49 w 98"/>
              <a:gd name="T61" fmla="*/ 4 h 151"/>
              <a:gd name="T62" fmla="*/ 49 w 98"/>
              <a:gd name="T63" fmla="*/ 0 h 151"/>
              <a:gd name="T64" fmla="*/ 45 w 98"/>
              <a:gd name="T65" fmla="*/ 0 h 151"/>
              <a:gd name="T66" fmla="*/ 40 w 98"/>
              <a:gd name="T67" fmla="*/ 8 h 15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8"/>
              <a:gd name="T103" fmla="*/ 0 h 151"/>
              <a:gd name="T104" fmla="*/ 98 w 98"/>
              <a:gd name="T105" fmla="*/ 151 h 15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8" h="151">
                <a:moveTo>
                  <a:pt x="0" y="129"/>
                </a:moveTo>
                <a:lnTo>
                  <a:pt x="4" y="151"/>
                </a:lnTo>
                <a:lnTo>
                  <a:pt x="22" y="147"/>
                </a:lnTo>
                <a:lnTo>
                  <a:pt x="36" y="151"/>
                </a:lnTo>
                <a:lnTo>
                  <a:pt x="36" y="134"/>
                </a:lnTo>
                <a:lnTo>
                  <a:pt x="49" y="134"/>
                </a:lnTo>
                <a:lnTo>
                  <a:pt x="54" y="120"/>
                </a:lnTo>
                <a:lnTo>
                  <a:pt x="71" y="120"/>
                </a:lnTo>
                <a:lnTo>
                  <a:pt x="71" y="102"/>
                </a:lnTo>
                <a:lnTo>
                  <a:pt x="80" y="102"/>
                </a:lnTo>
                <a:lnTo>
                  <a:pt x="85" y="98"/>
                </a:lnTo>
                <a:lnTo>
                  <a:pt x="80" y="98"/>
                </a:lnTo>
                <a:lnTo>
                  <a:pt x="89" y="84"/>
                </a:lnTo>
                <a:lnTo>
                  <a:pt x="98" y="67"/>
                </a:lnTo>
                <a:lnTo>
                  <a:pt x="89" y="62"/>
                </a:lnTo>
                <a:lnTo>
                  <a:pt x="80" y="44"/>
                </a:lnTo>
                <a:lnTo>
                  <a:pt x="58" y="40"/>
                </a:lnTo>
                <a:lnTo>
                  <a:pt x="49" y="31"/>
                </a:lnTo>
                <a:lnTo>
                  <a:pt x="45" y="22"/>
                </a:lnTo>
                <a:lnTo>
                  <a:pt x="40" y="26"/>
                </a:lnTo>
                <a:lnTo>
                  <a:pt x="31" y="40"/>
                </a:lnTo>
                <a:lnTo>
                  <a:pt x="31" y="67"/>
                </a:lnTo>
                <a:lnTo>
                  <a:pt x="40" y="62"/>
                </a:lnTo>
                <a:lnTo>
                  <a:pt x="54" y="67"/>
                </a:lnTo>
                <a:lnTo>
                  <a:pt x="58" y="89"/>
                </a:lnTo>
                <a:lnTo>
                  <a:pt x="54" y="102"/>
                </a:lnTo>
                <a:lnTo>
                  <a:pt x="40" y="107"/>
                </a:lnTo>
                <a:lnTo>
                  <a:pt x="0" y="129"/>
                </a:lnTo>
                <a:close/>
                <a:moveTo>
                  <a:pt x="40" y="8"/>
                </a:moveTo>
                <a:lnTo>
                  <a:pt x="45" y="8"/>
                </a:lnTo>
                <a:lnTo>
                  <a:pt x="49" y="4"/>
                </a:lnTo>
                <a:lnTo>
                  <a:pt x="49" y="0"/>
                </a:lnTo>
                <a:lnTo>
                  <a:pt x="45" y="0"/>
                </a:lnTo>
                <a:lnTo>
                  <a:pt x="40" y="8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1" name="Freeform 172"/>
          <p:cNvSpPr>
            <a:spLocks/>
          </p:cNvSpPr>
          <p:nvPr/>
        </p:nvSpPr>
        <p:spPr bwMode="gray">
          <a:xfrm>
            <a:off x="2997133" y="4527914"/>
            <a:ext cx="158799" cy="81602"/>
          </a:xfrm>
          <a:custGeom>
            <a:avLst/>
            <a:gdLst>
              <a:gd name="T0" fmla="*/ 8 w 116"/>
              <a:gd name="T1" fmla="*/ 0 h 67"/>
              <a:gd name="T2" fmla="*/ 26 w 116"/>
              <a:gd name="T3" fmla="*/ 4 h 67"/>
              <a:gd name="T4" fmla="*/ 44 w 116"/>
              <a:gd name="T5" fmla="*/ 22 h 67"/>
              <a:gd name="T6" fmla="*/ 53 w 116"/>
              <a:gd name="T7" fmla="*/ 22 h 67"/>
              <a:gd name="T8" fmla="*/ 75 w 116"/>
              <a:gd name="T9" fmla="*/ 40 h 67"/>
              <a:gd name="T10" fmla="*/ 116 w 116"/>
              <a:gd name="T11" fmla="*/ 45 h 67"/>
              <a:gd name="T12" fmla="*/ 116 w 116"/>
              <a:gd name="T13" fmla="*/ 63 h 67"/>
              <a:gd name="T14" fmla="*/ 107 w 116"/>
              <a:gd name="T15" fmla="*/ 67 h 67"/>
              <a:gd name="T16" fmla="*/ 75 w 116"/>
              <a:gd name="T17" fmla="*/ 63 h 67"/>
              <a:gd name="T18" fmla="*/ 75 w 116"/>
              <a:gd name="T19" fmla="*/ 58 h 67"/>
              <a:gd name="T20" fmla="*/ 67 w 116"/>
              <a:gd name="T21" fmla="*/ 58 h 67"/>
              <a:gd name="T22" fmla="*/ 58 w 116"/>
              <a:gd name="T23" fmla="*/ 49 h 67"/>
              <a:gd name="T24" fmla="*/ 49 w 116"/>
              <a:gd name="T25" fmla="*/ 54 h 67"/>
              <a:gd name="T26" fmla="*/ 35 w 116"/>
              <a:gd name="T27" fmla="*/ 49 h 67"/>
              <a:gd name="T28" fmla="*/ 8 w 116"/>
              <a:gd name="T29" fmla="*/ 36 h 67"/>
              <a:gd name="T30" fmla="*/ 8 w 116"/>
              <a:gd name="T31" fmla="*/ 27 h 67"/>
              <a:gd name="T32" fmla="*/ 0 w 116"/>
              <a:gd name="T33" fmla="*/ 27 h 67"/>
              <a:gd name="T34" fmla="*/ 0 w 116"/>
              <a:gd name="T35" fmla="*/ 9 h 67"/>
              <a:gd name="T36" fmla="*/ 8 w 116"/>
              <a:gd name="T37" fmla="*/ 0 h 6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16"/>
              <a:gd name="T58" fmla="*/ 0 h 67"/>
              <a:gd name="T59" fmla="*/ 116 w 116"/>
              <a:gd name="T60" fmla="*/ 67 h 6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16" h="67">
                <a:moveTo>
                  <a:pt x="8" y="0"/>
                </a:moveTo>
                <a:lnTo>
                  <a:pt x="26" y="4"/>
                </a:lnTo>
                <a:lnTo>
                  <a:pt x="44" y="22"/>
                </a:lnTo>
                <a:lnTo>
                  <a:pt x="53" y="22"/>
                </a:lnTo>
                <a:lnTo>
                  <a:pt x="75" y="40"/>
                </a:lnTo>
                <a:lnTo>
                  <a:pt x="116" y="45"/>
                </a:lnTo>
                <a:lnTo>
                  <a:pt x="116" y="63"/>
                </a:lnTo>
                <a:lnTo>
                  <a:pt x="107" y="67"/>
                </a:lnTo>
                <a:lnTo>
                  <a:pt x="75" y="63"/>
                </a:lnTo>
                <a:lnTo>
                  <a:pt x="75" y="58"/>
                </a:lnTo>
                <a:lnTo>
                  <a:pt x="67" y="58"/>
                </a:lnTo>
                <a:lnTo>
                  <a:pt x="58" y="49"/>
                </a:lnTo>
                <a:lnTo>
                  <a:pt x="49" y="54"/>
                </a:lnTo>
                <a:lnTo>
                  <a:pt x="35" y="49"/>
                </a:lnTo>
                <a:lnTo>
                  <a:pt x="8" y="36"/>
                </a:lnTo>
                <a:lnTo>
                  <a:pt x="8" y="27"/>
                </a:lnTo>
                <a:lnTo>
                  <a:pt x="0" y="27"/>
                </a:lnTo>
                <a:lnTo>
                  <a:pt x="0" y="9"/>
                </a:lnTo>
                <a:lnTo>
                  <a:pt x="8" y="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2" name="Freeform 173"/>
          <p:cNvSpPr>
            <a:spLocks noEditPoints="1"/>
          </p:cNvSpPr>
          <p:nvPr/>
        </p:nvSpPr>
        <p:spPr bwMode="gray">
          <a:xfrm>
            <a:off x="4641253" y="5458425"/>
            <a:ext cx="79400" cy="43846"/>
          </a:xfrm>
          <a:custGeom>
            <a:avLst/>
            <a:gdLst>
              <a:gd name="T0" fmla="*/ 0 w 58"/>
              <a:gd name="T1" fmla="*/ 0 h 36"/>
              <a:gd name="T2" fmla="*/ 0 w 58"/>
              <a:gd name="T3" fmla="*/ 0 h 36"/>
              <a:gd name="T4" fmla="*/ 9 w 58"/>
              <a:gd name="T5" fmla="*/ 14 h 36"/>
              <a:gd name="T6" fmla="*/ 22 w 58"/>
              <a:gd name="T7" fmla="*/ 27 h 36"/>
              <a:gd name="T8" fmla="*/ 40 w 58"/>
              <a:gd name="T9" fmla="*/ 36 h 36"/>
              <a:gd name="T10" fmla="*/ 45 w 58"/>
              <a:gd name="T11" fmla="*/ 31 h 36"/>
              <a:gd name="T12" fmla="*/ 36 w 58"/>
              <a:gd name="T13" fmla="*/ 27 h 36"/>
              <a:gd name="T14" fmla="*/ 31 w 58"/>
              <a:gd name="T15" fmla="*/ 22 h 36"/>
              <a:gd name="T16" fmla="*/ 18 w 58"/>
              <a:gd name="T17" fmla="*/ 9 h 36"/>
              <a:gd name="T18" fmla="*/ 14 w 58"/>
              <a:gd name="T19" fmla="*/ 9 h 36"/>
              <a:gd name="T20" fmla="*/ 9 w 58"/>
              <a:gd name="T21" fmla="*/ 5 h 36"/>
              <a:gd name="T22" fmla="*/ 5 w 58"/>
              <a:gd name="T23" fmla="*/ 0 h 36"/>
              <a:gd name="T24" fmla="*/ 0 w 58"/>
              <a:gd name="T25" fmla="*/ 0 h 36"/>
              <a:gd name="T26" fmla="*/ 54 w 58"/>
              <a:gd name="T27" fmla="*/ 14 h 36"/>
              <a:gd name="T28" fmla="*/ 49 w 58"/>
              <a:gd name="T29" fmla="*/ 14 h 36"/>
              <a:gd name="T30" fmla="*/ 45 w 58"/>
              <a:gd name="T31" fmla="*/ 9 h 36"/>
              <a:gd name="T32" fmla="*/ 45 w 58"/>
              <a:gd name="T33" fmla="*/ 9 h 36"/>
              <a:gd name="T34" fmla="*/ 45 w 58"/>
              <a:gd name="T35" fmla="*/ 9 h 36"/>
              <a:gd name="T36" fmla="*/ 45 w 58"/>
              <a:gd name="T37" fmla="*/ 14 h 36"/>
              <a:gd name="T38" fmla="*/ 49 w 58"/>
              <a:gd name="T39" fmla="*/ 18 h 36"/>
              <a:gd name="T40" fmla="*/ 54 w 58"/>
              <a:gd name="T41" fmla="*/ 14 h 36"/>
              <a:gd name="T42" fmla="*/ 58 w 58"/>
              <a:gd name="T43" fmla="*/ 22 h 36"/>
              <a:gd name="T44" fmla="*/ 58 w 58"/>
              <a:gd name="T45" fmla="*/ 18 h 36"/>
              <a:gd name="T46" fmla="*/ 54 w 58"/>
              <a:gd name="T47" fmla="*/ 18 h 36"/>
              <a:gd name="T48" fmla="*/ 54 w 58"/>
              <a:gd name="T49" fmla="*/ 18 h 36"/>
              <a:gd name="T50" fmla="*/ 54 w 58"/>
              <a:gd name="T51" fmla="*/ 22 h 36"/>
              <a:gd name="T52" fmla="*/ 58 w 58"/>
              <a:gd name="T53" fmla="*/ 22 h 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58"/>
              <a:gd name="T82" fmla="*/ 0 h 36"/>
              <a:gd name="T83" fmla="*/ 58 w 58"/>
              <a:gd name="T84" fmla="*/ 36 h 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58" h="36">
                <a:moveTo>
                  <a:pt x="0" y="0"/>
                </a:moveTo>
                <a:lnTo>
                  <a:pt x="0" y="0"/>
                </a:lnTo>
                <a:lnTo>
                  <a:pt x="9" y="14"/>
                </a:lnTo>
                <a:lnTo>
                  <a:pt x="22" y="27"/>
                </a:lnTo>
                <a:lnTo>
                  <a:pt x="40" y="36"/>
                </a:lnTo>
                <a:lnTo>
                  <a:pt x="45" y="31"/>
                </a:lnTo>
                <a:lnTo>
                  <a:pt x="36" y="27"/>
                </a:lnTo>
                <a:lnTo>
                  <a:pt x="31" y="22"/>
                </a:lnTo>
                <a:lnTo>
                  <a:pt x="18" y="9"/>
                </a:lnTo>
                <a:lnTo>
                  <a:pt x="14" y="9"/>
                </a:lnTo>
                <a:lnTo>
                  <a:pt x="9" y="5"/>
                </a:lnTo>
                <a:lnTo>
                  <a:pt x="5" y="0"/>
                </a:lnTo>
                <a:lnTo>
                  <a:pt x="0" y="0"/>
                </a:lnTo>
                <a:close/>
                <a:moveTo>
                  <a:pt x="54" y="14"/>
                </a:moveTo>
                <a:lnTo>
                  <a:pt x="49" y="14"/>
                </a:lnTo>
                <a:lnTo>
                  <a:pt x="45" y="9"/>
                </a:lnTo>
                <a:lnTo>
                  <a:pt x="45" y="14"/>
                </a:lnTo>
                <a:lnTo>
                  <a:pt x="49" y="18"/>
                </a:lnTo>
                <a:lnTo>
                  <a:pt x="54" y="14"/>
                </a:lnTo>
                <a:close/>
                <a:moveTo>
                  <a:pt x="58" y="22"/>
                </a:moveTo>
                <a:lnTo>
                  <a:pt x="58" y="18"/>
                </a:lnTo>
                <a:lnTo>
                  <a:pt x="54" y="18"/>
                </a:lnTo>
                <a:lnTo>
                  <a:pt x="54" y="22"/>
                </a:lnTo>
                <a:lnTo>
                  <a:pt x="58" y="22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3" name="Freeform 174"/>
          <p:cNvSpPr>
            <a:spLocks noEditPoints="1"/>
          </p:cNvSpPr>
          <p:nvPr/>
        </p:nvSpPr>
        <p:spPr bwMode="gray">
          <a:xfrm>
            <a:off x="4683691" y="5354900"/>
            <a:ext cx="43807" cy="59679"/>
          </a:xfrm>
          <a:custGeom>
            <a:avLst/>
            <a:gdLst>
              <a:gd name="T0" fmla="*/ 5 w 32"/>
              <a:gd name="T1" fmla="*/ 0 h 49"/>
              <a:gd name="T2" fmla="*/ 0 w 32"/>
              <a:gd name="T3" fmla="*/ 5 h 49"/>
              <a:gd name="T4" fmla="*/ 5 w 32"/>
              <a:gd name="T5" fmla="*/ 14 h 49"/>
              <a:gd name="T6" fmla="*/ 14 w 32"/>
              <a:gd name="T7" fmla="*/ 14 h 49"/>
              <a:gd name="T8" fmla="*/ 14 w 32"/>
              <a:gd name="T9" fmla="*/ 5 h 49"/>
              <a:gd name="T10" fmla="*/ 9 w 32"/>
              <a:gd name="T11" fmla="*/ 5 h 49"/>
              <a:gd name="T12" fmla="*/ 5 w 32"/>
              <a:gd name="T13" fmla="*/ 0 h 49"/>
              <a:gd name="T14" fmla="*/ 18 w 32"/>
              <a:gd name="T15" fmla="*/ 18 h 49"/>
              <a:gd name="T16" fmla="*/ 14 w 32"/>
              <a:gd name="T17" fmla="*/ 23 h 49"/>
              <a:gd name="T18" fmla="*/ 23 w 32"/>
              <a:gd name="T19" fmla="*/ 27 h 49"/>
              <a:gd name="T20" fmla="*/ 23 w 32"/>
              <a:gd name="T21" fmla="*/ 27 h 49"/>
              <a:gd name="T22" fmla="*/ 18 w 32"/>
              <a:gd name="T23" fmla="*/ 18 h 49"/>
              <a:gd name="T24" fmla="*/ 27 w 32"/>
              <a:gd name="T25" fmla="*/ 40 h 49"/>
              <a:gd name="T26" fmla="*/ 27 w 32"/>
              <a:gd name="T27" fmla="*/ 45 h 49"/>
              <a:gd name="T28" fmla="*/ 32 w 32"/>
              <a:gd name="T29" fmla="*/ 49 h 49"/>
              <a:gd name="T30" fmla="*/ 32 w 32"/>
              <a:gd name="T31" fmla="*/ 40 h 49"/>
              <a:gd name="T32" fmla="*/ 27 w 32"/>
              <a:gd name="T33" fmla="*/ 40 h 4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2"/>
              <a:gd name="T52" fmla="*/ 0 h 49"/>
              <a:gd name="T53" fmla="*/ 32 w 32"/>
              <a:gd name="T54" fmla="*/ 49 h 4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2" h="49">
                <a:moveTo>
                  <a:pt x="5" y="0"/>
                </a:moveTo>
                <a:lnTo>
                  <a:pt x="0" y="5"/>
                </a:lnTo>
                <a:lnTo>
                  <a:pt x="5" y="14"/>
                </a:lnTo>
                <a:lnTo>
                  <a:pt x="14" y="14"/>
                </a:lnTo>
                <a:lnTo>
                  <a:pt x="14" y="5"/>
                </a:lnTo>
                <a:lnTo>
                  <a:pt x="9" y="5"/>
                </a:lnTo>
                <a:lnTo>
                  <a:pt x="5" y="0"/>
                </a:lnTo>
                <a:close/>
                <a:moveTo>
                  <a:pt x="18" y="18"/>
                </a:moveTo>
                <a:lnTo>
                  <a:pt x="14" y="23"/>
                </a:lnTo>
                <a:lnTo>
                  <a:pt x="23" y="27"/>
                </a:lnTo>
                <a:lnTo>
                  <a:pt x="18" y="18"/>
                </a:lnTo>
                <a:close/>
                <a:moveTo>
                  <a:pt x="27" y="40"/>
                </a:moveTo>
                <a:lnTo>
                  <a:pt x="27" y="45"/>
                </a:lnTo>
                <a:lnTo>
                  <a:pt x="32" y="49"/>
                </a:lnTo>
                <a:lnTo>
                  <a:pt x="32" y="40"/>
                </a:lnTo>
                <a:lnTo>
                  <a:pt x="27" y="40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4" name="Freeform 175"/>
          <p:cNvSpPr>
            <a:spLocks noEditPoints="1"/>
          </p:cNvSpPr>
          <p:nvPr/>
        </p:nvSpPr>
        <p:spPr bwMode="gray">
          <a:xfrm>
            <a:off x="4127893" y="4924965"/>
            <a:ext cx="501039" cy="158333"/>
          </a:xfrm>
          <a:custGeom>
            <a:avLst/>
            <a:gdLst>
              <a:gd name="T0" fmla="*/ 4 w 366"/>
              <a:gd name="T1" fmla="*/ 0 h 130"/>
              <a:gd name="T2" fmla="*/ 0 w 366"/>
              <a:gd name="T3" fmla="*/ 0 h 130"/>
              <a:gd name="T4" fmla="*/ 4 w 366"/>
              <a:gd name="T5" fmla="*/ 0 h 130"/>
              <a:gd name="T6" fmla="*/ 4 w 366"/>
              <a:gd name="T7" fmla="*/ 0 h 130"/>
              <a:gd name="T8" fmla="*/ 232 w 366"/>
              <a:gd name="T9" fmla="*/ 130 h 130"/>
              <a:gd name="T10" fmla="*/ 237 w 366"/>
              <a:gd name="T11" fmla="*/ 130 h 130"/>
              <a:gd name="T12" fmla="*/ 241 w 366"/>
              <a:gd name="T13" fmla="*/ 130 h 130"/>
              <a:gd name="T14" fmla="*/ 237 w 366"/>
              <a:gd name="T15" fmla="*/ 130 h 130"/>
              <a:gd name="T16" fmla="*/ 237 w 366"/>
              <a:gd name="T17" fmla="*/ 125 h 130"/>
              <a:gd name="T18" fmla="*/ 237 w 366"/>
              <a:gd name="T19" fmla="*/ 130 h 130"/>
              <a:gd name="T20" fmla="*/ 232 w 366"/>
              <a:gd name="T21" fmla="*/ 130 h 130"/>
              <a:gd name="T22" fmla="*/ 281 w 366"/>
              <a:gd name="T23" fmla="*/ 116 h 130"/>
              <a:gd name="T24" fmla="*/ 281 w 366"/>
              <a:gd name="T25" fmla="*/ 121 h 130"/>
              <a:gd name="T26" fmla="*/ 286 w 366"/>
              <a:gd name="T27" fmla="*/ 116 h 130"/>
              <a:gd name="T28" fmla="*/ 281 w 366"/>
              <a:gd name="T29" fmla="*/ 116 h 130"/>
              <a:gd name="T30" fmla="*/ 286 w 366"/>
              <a:gd name="T31" fmla="*/ 36 h 130"/>
              <a:gd name="T32" fmla="*/ 286 w 366"/>
              <a:gd name="T33" fmla="*/ 36 h 130"/>
              <a:gd name="T34" fmla="*/ 290 w 366"/>
              <a:gd name="T35" fmla="*/ 31 h 130"/>
              <a:gd name="T36" fmla="*/ 286 w 366"/>
              <a:gd name="T37" fmla="*/ 36 h 130"/>
              <a:gd name="T38" fmla="*/ 362 w 366"/>
              <a:gd name="T39" fmla="*/ 58 h 130"/>
              <a:gd name="T40" fmla="*/ 366 w 366"/>
              <a:gd name="T41" fmla="*/ 58 h 130"/>
              <a:gd name="T42" fmla="*/ 366 w 366"/>
              <a:gd name="T43" fmla="*/ 54 h 130"/>
              <a:gd name="T44" fmla="*/ 362 w 366"/>
              <a:gd name="T45" fmla="*/ 58 h 13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66"/>
              <a:gd name="T70" fmla="*/ 0 h 130"/>
              <a:gd name="T71" fmla="*/ 366 w 366"/>
              <a:gd name="T72" fmla="*/ 130 h 13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66" h="130">
                <a:moveTo>
                  <a:pt x="4" y="0"/>
                </a:moveTo>
                <a:lnTo>
                  <a:pt x="0" y="0"/>
                </a:lnTo>
                <a:lnTo>
                  <a:pt x="4" y="0"/>
                </a:lnTo>
                <a:close/>
                <a:moveTo>
                  <a:pt x="232" y="130"/>
                </a:moveTo>
                <a:lnTo>
                  <a:pt x="237" y="130"/>
                </a:lnTo>
                <a:lnTo>
                  <a:pt x="241" y="130"/>
                </a:lnTo>
                <a:lnTo>
                  <a:pt x="237" y="130"/>
                </a:lnTo>
                <a:lnTo>
                  <a:pt x="237" y="125"/>
                </a:lnTo>
                <a:lnTo>
                  <a:pt x="237" y="130"/>
                </a:lnTo>
                <a:lnTo>
                  <a:pt x="232" y="130"/>
                </a:lnTo>
                <a:close/>
                <a:moveTo>
                  <a:pt x="281" y="116"/>
                </a:moveTo>
                <a:lnTo>
                  <a:pt x="281" y="121"/>
                </a:lnTo>
                <a:lnTo>
                  <a:pt x="286" y="116"/>
                </a:lnTo>
                <a:lnTo>
                  <a:pt x="281" y="116"/>
                </a:lnTo>
                <a:close/>
                <a:moveTo>
                  <a:pt x="286" y="36"/>
                </a:moveTo>
                <a:lnTo>
                  <a:pt x="286" y="36"/>
                </a:lnTo>
                <a:lnTo>
                  <a:pt x="290" y="31"/>
                </a:lnTo>
                <a:lnTo>
                  <a:pt x="286" y="36"/>
                </a:lnTo>
                <a:close/>
                <a:moveTo>
                  <a:pt x="362" y="58"/>
                </a:moveTo>
                <a:lnTo>
                  <a:pt x="366" y="58"/>
                </a:lnTo>
                <a:lnTo>
                  <a:pt x="366" y="54"/>
                </a:lnTo>
                <a:lnTo>
                  <a:pt x="362" y="58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5" name="Freeform 176"/>
          <p:cNvSpPr>
            <a:spLocks/>
          </p:cNvSpPr>
          <p:nvPr/>
        </p:nvSpPr>
        <p:spPr bwMode="gray">
          <a:xfrm>
            <a:off x="2617931" y="4386632"/>
            <a:ext cx="323074" cy="277692"/>
          </a:xfrm>
          <a:custGeom>
            <a:avLst/>
            <a:gdLst>
              <a:gd name="T0" fmla="*/ 9 w 236"/>
              <a:gd name="T1" fmla="*/ 129 h 228"/>
              <a:gd name="T2" fmla="*/ 76 w 236"/>
              <a:gd name="T3" fmla="*/ 129 h 228"/>
              <a:gd name="T4" fmla="*/ 84 w 236"/>
              <a:gd name="T5" fmla="*/ 98 h 228"/>
              <a:gd name="T6" fmla="*/ 107 w 236"/>
              <a:gd name="T7" fmla="*/ 89 h 228"/>
              <a:gd name="T8" fmla="*/ 120 w 236"/>
              <a:gd name="T9" fmla="*/ 89 h 228"/>
              <a:gd name="T10" fmla="*/ 120 w 236"/>
              <a:gd name="T11" fmla="*/ 71 h 228"/>
              <a:gd name="T12" fmla="*/ 129 w 236"/>
              <a:gd name="T13" fmla="*/ 53 h 228"/>
              <a:gd name="T14" fmla="*/ 151 w 236"/>
              <a:gd name="T15" fmla="*/ 31 h 228"/>
              <a:gd name="T16" fmla="*/ 151 w 236"/>
              <a:gd name="T17" fmla="*/ 13 h 228"/>
              <a:gd name="T18" fmla="*/ 192 w 236"/>
              <a:gd name="T19" fmla="*/ 0 h 228"/>
              <a:gd name="T20" fmla="*/ 214 w 236"/>
              <a:gd name="T21" fmla="*/ 0 h 228"/>
              <a:gd name="T22" fmla="*/ 236 w 236"/>
              <a:gd name="T23" fmla="*/ 9 h 228"/>
              <a:gd name="T24" fmla="*/ 218 w 236"/>
              <a:gd name="T25" fmla="*/ 36 h 228"/>
              <a:gd name="T26" fmla="*/ 183 w 236"/>
              <a:gd name="T27" fmla="*/ 53 h 228"/>
              <a:gd name="T28" fmla="*/ 210 w 236"/>
              <a:gd name="T29" fmla="*/ 80 h 228"/>
              <a:gd name="T30" fmla="*/ 192 w 236"/>
              <a:gd name="T31" fmla="*/ 112 h 228"/>
              <a:gd name="T32" fmla="*/ 165 w 236"/>
              <a:gd name="T33" fmla="*/ 143 h 228"/>
              <a:gd name="T34" fmla="*/ 143 w 236"/>
              <a:gd name="T35" fmla="*/ 161 h 228"/>
              <a:gd name="T36" fmla="*/ 125 w 236"/>
              <a:gd name="T37" fmla="*/ 170 h 228"/>
              <a:gd name="T38" fmla="*/ 134 w 236"/>
              <a:gd name="T39" fmla="*/ 179 h 228"/>
              <a:gd name="T40" fmla="*/ 143 w 236"/>
              <a:gd name="T41" fmla="*/ 192 h 228"/>
              <a:gd name="T42" fmla="*/ 138 w 236"/>
              <a:gd name="T43" fmla="*/ 214 h 228"/>
              <a:gd name="T44" fmla="*/ 107 w 236"/>
              <a:gd name="T45" fmla="*/ 228 h 228"/>
              <a:gd name="T46" fmla="*/ 89 w 236"/>
              <a:gd name="T47" fmla="*/ 205 h 228"/>
              <a:gd name="T48" fmla="*/ 84 w 236"/>
              <a:gd name="T49" fmla="*/ 205 h 228"/>
              <a:gd name="T50" fmla="*/ 80 w 236"/>
              <a:gd name="T51" fmla="*/ 196 h 228"/>
              <a:gd name="T52" fmla="*/ 53 w 236"/>
              <a:gd name="T53" fmla="*/ 201 h 228"/>
              <a:gd name="T54" fmla="*/ 40 w 236"/>
              <a:gd name="T55" fmla="*/ 196 h 228"/>
              <a:gd name="T56" fmla="*/ 26 w 236"/>
              <a:gd name="T57" fmla="*/ 196 h 228"/>
              <a:gd name="T58" fmla="*/ 13 w 236"/>
              <a:gd name="T59" fmla="*/ 201 h 228"/>
              <a:gd name="T60" fmla="*/ 13 w 236"/>
              <a:gd name="T61" fmla="*/ 187 h 228"/>
              <a:gd name="T62" fmla="*/ 35 w 236"/>
              <a:gd name="T63" fmla="*/ 174 h 228"/>
              <a:gd name="T64" fmla="*/ 26 w 236"/>
              <a:gd name="T65" fmla="*/ 165 h 228"/>
              <a:gd name="T66" fmla="*/ 13 w 236"/>
              <a:gd name="T67" fmla="*/ 147 h 228"/>
              <a:gd name="T68" fmla="*/ 0 w 236"/>
              <a:gd name="T69" fmla="*/ 125 h 22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36"/>
              <a:gd name="T106" fmla="*/ 0 h 228"/>
              <a:gd name="T107" fmla="*/ 236 w 236"/>
              <a:gd name="T108" fmla="*/ 228 h 22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36" h="228">
                <a:moveTo>
                  <a:pt x="0" y="125"/>
                </a:moveTo>
                <a:lnTo>
                  <a:pt x="9" y="129"/>
                </a:lnTo>
                <a:lnTo>
                  <a:pt x="22" y="134"/>
                </a:lnTo>
                <a:lnTo>
                  <a:pt x="76" y="129"/>
                </a:lnTo>
                <a:lnTo>
                  <a:pt x="80" y="107"/>
                </a:lnTo>
                <a:lnTo>
                  <a:pt x="84" y="98"/>
                </a:lnTo>
                <a:lnTo>
                  <a:pt x="98" y="98"/>
                </a:lnTo>
                <a:lnTo>
                  <a:pt x="107" y="89"/>
                </a:lnTo>
                <a:lnTo>
                  <a:pt x="116" y="94"/>
                </a:lnTo>
                <a:lnTo>
                  <a:pt x="120" y="89"/>
                </a:lnTo>
                <a:lnTo>
                  <a:pt x="120" y="76"/>
                </a:lnTo>
                <a:lnTo>
                  <a:pt x="120" y="71"/>
                </a:lnTo>
                <a:lnTo>
                  <a:pt x="134" y="62"/>
                </a:lnTo>
                <a:lnTo>
                  <a:pt x="129" y="53"/>
                </a:lnTo>
                <a:lnTo>
                  <a:pt x="143" y="49"/>
                </a:lnTo>
                <a:lnTo>
                  <a:pt x="151" y="31"/>
                </a:lnTo>
                <a:lnTo>
                  <a:pt x="147" y="22"/>
                </a:lnTo>
                <a:lnTo>
                  <a:pt x="151" y="13"/>
                </a:lnTo>
                <a:lnTo>
                  <a:pt x="169" y="4"/>
                </a:lnTo>
                <a:lnTo>
                  <a:pt x="192" y="0"/>
                </a:lnTo>
                <a:lnTo>
                  <a:pt x="196" y="0"/>
                </a:lnTo>
                <a:lnTo>
                  <a:pt x="214" y="0"/>
                </a:lnTo>
                <a:lnTo>
                  <a:pt x="223" y="13"/>
                </a:lnTo>
                <a:lnTo>
                  <a:pt x="236" y="9"/>
                </a:lnTo>
                <a:lnTo>
                  <a:pt x="232" y="40"/>
                </a:lnTo>
                <a:lnTo>
                  <a:pt x="218" y="36"/>
                </a:lnTo>
                <a:lnTo>
                  <a:pt x="187" y="36"/>
                </a:lnTo>
                <a:lnTo>
                  <a:pt x="183" y="53"/>
                </a:lnTo>
                <a:lnTo>
                  <a:pt x="187" y="67"/>
                </a:lnTo>
                <a:lnTo>
                  <a:pt x="210" y="80"/>
                </a:lnTo>
                <a:lnTo>
                  <a:pt x="201" y="94"/>
                </a:lnTo>
                <a:lnTo>
                  <a:pt x="192" y="112"/>
                </a:lnTo>
                <a:lnTo>
                  <a:pt x="183" y="134"/>
                </a:lnTo>
                <a:lnTo>
                  <a:pt x="165" y="143"/>
                </a:lnTo>
                <a:lnTo>
                  <a:pt x="160" y="152"/>
                </a:lnTo>
                <a:lnTo>
                  <a:pt x="143" y="161"/>
                </a:lnTo>
                <a:lnTo>
                  <a:pt x="134" y="156"/>
                </a:lnTo>
                <a:lnTo>
                  <a:pt x="125" y="170"/>
                </a:lnTo>
                <a:lnTo>
                  <a:pt x="120" y="179"/>
                </a:lnTo>
                <a:lnTo>
                  <a:pt x="134" y="179"/>
                </a:lnTo>
                <a:lnTo>
                  <a:pt x="129" y="187"/>
                </a:lnTo>
                <a:lnTo>
                  <a:pt x="143" y="192"/>
                </a:lnTo>
                <a:lnTo>
                  <a:pt x="151" y="214"/>
                </a:lnTo>
                <a:lnTo>
                  <a:pt x="138" y="214"/>
                </a:lnTo>
                <a:lnTo>
                  <a:pt x="111" y="219"/>
                </a:lnTo>
                <a:lnTo>
                  <a:pt x="107" y="228"/>
                </a:lnTo>
                <a:lnTo>
                  <a:pt x="89" y="219"/>
                </a:lnTo>
                <a:lnTo>
                  <a:pt x="89" y="205"/>
                </a:lnTo>
                <a:lnTo>
                  <a:pt x="84" y="205"/>
                </a:lnTo>
                <a:lnTo>
                  <a:pt x="84" y="201"/>
                </a:lnTo>
                <a:lnTo>
                  <a:pt x="80" y="196"/>
                </a:lnTo>
                <a:lnTo>
                  <a:pt x="67" y="192"/>
                </a:lnTo>
                <a:lnTo>
                  <a:pt x="53" y="201"/>
                </a:lnTo>
                <a:lnTo>
                  <a:pt x="49" y="196"/>
                </a:lnTo>
                <a:lnTo>
                  <a:pt x="40" y="196"/>
                </a:lnTo>
                <a:lnTo>
                  <a:pt x="40" y="201"/>
                </a:lnTo>
                <a:lnTo>
                  <a:pt x="26" y="196"/>
                </a:lnTo>
                <a:lnTo>
                  <a:pt x="22" y="201"/>
                </a:lnTo>
                <a:lnTo>
                  <a:pt x="13" y="201"/>
                </a:lnTo>
                <a:lnTo>
                  <a:pt x="13" y="196"/>
                </a:lnTo>
                <a:lnTo>
                  <a:pt x="13" y="187"/>
                </a:lnTo>
                <a:lnTo>
                  <a:pt x="22" y="179"/>
                </a:lnTo>
                <a:lnTo>
                  <a:pt x="35" y="174"/>
                </a:lnTo>
                <a:lnTo>
                  <a:pt x="35" y="165"/>
                </a:lnTo>
                <a:lnTo>
                  <a:pt x="26" y="165"/>
                </a:lnTo>
                <a:lnTo>
                  <a:pt x="26" y="152"/>
                </a:lnTo>
                <a:lnTo>
                  <a:pt x="13" y="147"/>
                </a:lnTo>
                <a:lnTo>
                  <a:pt x="0" y="129"/>
                </a:lnTo>
                <a:lnTo>
                  <a:pt x="0" y="125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6" name="Freeform 177"/>
          <p:cNvSpPr>
            <a:spLocks noEditPoints="1"/>
          </p:cNvSpPr>
          <p:nvPr/>
        </p:nvSpPr>
        <p:spPr bwMode="gray">
          <a:xfrm>
            <a:off x="3718574" y="4750798"/>
            <a:ext cx="183441" cy="250897"/>
          </a:xfrm>
          <a:custGeom>
            <a:avLst/>
            <a:gdLst>
              <a:gd name="T0" fmla="*/ 31 w 134"/>
              <a:gd name="T1" fmla="*/ 125 h 206"/>
              <a:gd name="T2" fmla="*/ 9 w 134"/>
              <a:gd name="T3" fmla="*/ 152 h 206"/>
              <a:gd name="T4" fmla="*/ 17 w 134"/>
              <a:gd name="T5" fmla="*/ 148 h 206"/>
              <a:gd name="T6" fmla="*/ 40 w 134"/>
              <a:gd name="T7" fmla="*/ 116 h 206"/>
              <a:gd name="T8" fmla="*/ 44 w 134"/>
              <a:gd name="T9" fmla="*/ 206 h 206"/>
              <a:gd name="T10" fmla="*/ 40 w 134"/>
              <a:gd name="T11" fmla="*/ 201 h 206"/>
              <a:gd name="T12" fmla="*/ 58 w 134"/>
              <a:gd name="T13" fmla="*/ 107 h 206"/>
              <a:gd name="T14" fmla="*/ 58 w 134"/>
              <a:gd name="T15" fmla="*/ 85 h 206"/>
              <a:gd name="T16" fmla="*/ 40 w 134"/>
              <a:gd name="T17" fmla="*/ 40 h 206"/>
              <a:gd name="T18" fmla="*/ 49 w 134"/>
              <a:gd name="T19" fmla="*/ 63 h 206"/>
              <a:gd name="T20" fmla="*/ 58 w 134"/>
              <a:gd name="T21" fmla="*/ 81 h 206"/>
              <a:gd name="T22" fmla="*/ 76 w 134"/>
              <a:gd name="T23" fmla="*/ 76 h 206"/>
              <a:gd name="T24" fmla="*/ 102 w 134"/>
              <a:gd name="T25" fmla="*/ 90 h 206"/>
              <a:gd name="T26" fmla="*/ 102 w 134"/>
              <a:gd name="T27" fmla="*/ 81 h 206"/>
              <a:gd name="T28" fmla="*/ 102 w 134"/>
              <a:gd name="T29" fmla="*/ 76 h 206"/>
              <a:gd name="T30" fmla="*/ 89 w 134"/>
              <a:gd name="T31" fmla="*/ 76 h 206"/>
              <a:gd name="T32" fmla="*/ 67 w 134"/>
              <a:gd name="T33" fmla="*/ 67 h 206"/>
              <a:gd name="T34" fmla="*/ 71 w 134"/>
              <a:gd name="T35" fmla="*/ 76 h 206"/>
              <a:gd name="T36" fmla="*/ 62 w 134"/>
              <a:gd name="T37" fmla="*/ 54 h 206"/>
              <a:gd name="T38" fmla="*/ 67 w 134"/>
              <a:gd name="T39" fmla="*/ 36 h 206"/>
              <a:gd name="T40" fmla="*/ 76 w 134"/>
              <a:gd name="T41" fmla="*/ 9 h 206"/>
              <a:gd name="T42" fmla="*/ 58 w 134"/>
              <a:gd name="T43" fmla="*/ 5 h 206"/>
              <a:gd name="T44" fmla="*/ 49 w 134"/>
              <a:gd name="T45" fmla="*/ 49 h 206"/>
              <a:gd name="T46" fmla="*/ 67 w 134"/>
              <a:gd name="T47" fmla="*/ 134 h 206"/>
              <a:gd name="T48" fmla="*/ 84 w 134"/>
              <a:gd name="T49" fmla="*/ 112 h 206"/>
              <a:gd name="T50" fmla="*/ 71 w 134"/>
              <a:gd name="T51" fmla="*/ 107 h 206"/>
              <a:gd name="T52" fmla="*/ 89 w 134"/>
              <a:gd name="T53" fmla="*/ 112 h 206"/>
              <a:gd name="T54" fmla="*/ 98 w 134"/>
              <a:gd name="T55" fmla="*/ 107 h 206"/>
              <a:gd name="T56" fmla="*/ 84 w 134"/>
              <a:gd name="T57" fmla="*/ 103 h 206"/>
              <a:gd name="T58" fmla="*/ 89 w 134"/>
              <a:gd name="T59" fmla="*/ 157 h 206"/>
              <a:gd name="T60" fmla="*/ 71 w 134"/>
              <a:gd name="T61" fmla="*/ 161 h 206"/>
              <a:gd name="T62" fmla="*/ 67 w 134"/>
              <a:gd name="T63" fmla="*/ 188 h 206"/>
              <a:gd name="T64" fmla="*/ 76 w 134"/>
              <a:gd name="T65" fmla="*/ 170 h 206"/>
              <a:gd name="T66" fmla="*/ 89 w 134"/>
              <a:gd name="T67" fmla="*/ 174 h 206"/>
              <a:gd name="T68" fmla="*/ 102 w 134"/>
              <a:gd name="T69" fmla="*/ 174 h 206"/>
              <a:gd name="T70" fmla="*/ 116 w 134"/>
              <a:gd name="T71" fmla="*/ 192 h 206"/>
              <a:gd name="T72" fmla="*/ 125 w 134"/>
              <a:gd name="T73" fmla="*/ 183 h 206"/>
              <a:gd name="T74" fmla="*/ 120 w 134"/>
              <a:gd name="T75" fmla="*/ 170 h 206"/>
              <a:gd name="T76" fmla="*/ 134 w 134"/>
              <a:gd name="T77" fmla="*/ 170 h 206"/>
              <a:gd name="T78" fmla="*/ 129 w 134"/>
              <a:gd name="T79" fmla="*/ 139 h 206"/>
              <a:gd name="T80" fmla="*/ 125 w 134"/>
              <a:gd name="T81" fmla="*/ 134 h 206"/>
              <a:gd name="T82" fmla="*/ 116 w 134"/>
              <a:gd name="T83" fmla="*/ 152 h 206"/>
              <a:gd name="T84" fmla="*/ 102 w 134"/>
              <a:gd name="T85" fmla="*/ 152 h 206"/>
              <a:gd name="T86" fmla="*/ 84 w 134"/>
              <a:gd name="T87" fmla="*/ 121 h 206"/>
              <a:gd name="T88" fmla="*/ 71 w 134"/>
              <a:gd name="T89" fmla="*/ 139 h 206"/>
              <a:gd name="T90" fmla="*/ 84 w 134"/>
              <a:gd name="T91" fmla="*/ 152 h 206"/>
              <a:gd name="T92" fmla="*/ 93 w 134"/>
              <a:gd name="T93" fmla="*/ 125 h 206"/>
              <a:gd name="T94" fmla="*/ 89 w 134"/>
              <a:gd name="T95" fmla="*/ 139 h 206"/>
              <a:gd name="T96" fmla="*/ 98 w 134"/>
              <a:gd name="T97" fmla="*/ 116 h 206"/>
              <a:gd name="T98" fmla="*/ 102 w 134"/>
              <a:gd name="T99" fmla="*/ 125 h 206"/>
              <a:gd name="T100" fmla="*/ 120 w 134"/>
              <a:gd name="T101" fmla="*/ 139 h 206"/>
              <a:gd name="T102" fmla="*/ 116 w 134"/>
              <a:gd name="T103" fmla="*/ 121 h 206"/>
              <a:gd name="T104" fmla="*/ 102 w 134"/>
              <a:gd name="T105" fmla="*/ 112 h 206"/>
              <a:gd name="T106" fmla="*/ 111 w 134"/>
              <a:gd name="T107" fmla="*/ 112 h 206"/>
              <a:gd name="T108" fmla="*/ 125 w 134"/>
              <a:gd name="T109" fmla="*/ 121 h 206"/>
              <a:gd name="T110" fmla="*/ 102 w 134"/>
              <a:gd name="T111" fmla="*/ 103 h 206"/>
              <a:gd name="T112" fmla="*/ 93 w 134"/>
              <a:gd name="T113" fmla="*/ 143 h 20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34"/>
              <a:gd name="T172" fmla="*/ 0 h 206"/>
              <a:gd name="T173" fmla="*/ 134 w 134"/>
              <a:gd name="T174" fmla="*/ 206 h 20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34" h="206">
                <a:moveTo>
                  <a:pt x="40" y="116"/>
                </a:moveTo>
                <a:lnTo>
                  <a:pt x="35" y="125"/>
                </a:lnTo>
                <a:lnTo>
                  <a:pt x="31" y="125"/>
                </a:lnTo>
                <a:lnTo>
                  <a:pt x="26" y="134"/>
                </a:lnTo>
                <a:lnTo>
                  <a:pt x="22" y="134"/>
                </a:lnTo>
                <a:lnTo>
                  <a:pt x="9" y="152"/>
                </a:lnTo>
                <a:lnTo>
                  <a:pt x="0" y="161"/>
                </a:lnTo>
                <a:lnTo>
                  <a:pt x="9" y="157"/>
                </a:lnTo>
                <a:lnTo>
                  <a:pt x="17" y="148"/>
                </a:lnTo>
                <a:lnTo>
                  <a:pt x="26" y="152"/>
                </a:lnTo>
                <a:lnTo>
                  <a:pt x="40" y="130"/>
                </a:lnTo>
                <a:lnTo>
                  <a:pt x="40" y="116"/>
                </a:lnTo>
                <a:close/>
                <a:moveTo>
                  <a:pt x="40" y="201"/>
                </a:moveTo>
                <a:lnTo>
                  <a:pt x="40" y="206"/>
                </a:lnTo>
                <a:lnTo>
                  <a:pt x="44" y="206"/>
                </a:lnTo>
                <a:lnTo>
                  <a:pt x="49" y="201"/>
                </a:lnTo>
                <a:lnTo>
                  <a:pt x="40" y="201"/>
                </a:lnTo>
                <a:close/>
                <a:moveTo>
                  <a:pt x="44" y="85"/>
                </a:moveTo>
                <a:lnTo>
                  <a:pt x="53" y="90"/>
                </a:lnTo>
                <a:lnTo>
                  <a:pt x="58" y="107"/>
                </a:lnTo>
                <a:lnTo>
                  <a:pt x="62" y="103"/>
                </a:lnTo>
                <a:lnTo>
                  <a:pt x="62" y="90"/>
                </a:lnTo>
                <a:lnTo>
                  <a:pt x="58" y="85"/>
                </a:lnTo>
                <a:lnTo>
                  <a:pt x="44" y="85"/>
                </a:lnTo>
                <a:close/>
                <a:moveTo>
                  <a:pt x="49" y="49"/>
                </a:moveTo>
                <a:lnTo>
                  <a:pt x="40" y="40"/>
                </a:lnTo>
                <a:lnTo>
                  <a:pt x="35" y="49"/>
                </a:lnTo>
                <a:lnTo>
                  <a:pt x="40" y="67"/>
                </a:lnTo>
                <a:lnTo>
                  <a:pt x="49" y="63"/>
                </a:lnTo>
                <a:lnTo>
                  <a:pt x="53" y="72"/>
                </a:lnTo>
                <a:lnTo>
                  <a:pt x="49" y="76"/>
                </a:lnTo>
                <a:lnTo>
                  <a:pt x="58" y="81"/>
                </a:lnTo>
                <a:lnTo>
                  <a:pt x="67" y="76"/>
                </a:lnTo>
                <a:lnTo>
                  <a:pt x="80" y="90"/>
                </a:lnTo>
                <a:lnTo>
                  <a:pt x="76" y="76"/>
                </a:lnTo>
                <a:lnTo>
                  <a:pt x="89" y="90"/>
                </a:lnTo>
                <a:lnTo>
                  <a:pt x="102" y="103"/>
                </a:lnTo>
                <a:lnTo>
                  <a:pt x="102" y="90"/>
                </a:lnTo>
                <a:lnTo>
                  <a:pt x="98" y="90"/>
                </a:lnTo>
                <a:lnTo>
                  <a:pt x="93" y="81"/>
                </a:lnTo>
                <a:lnTo>
                  <a:pt x="102" y="81"/>
                </a:lnTo>
                <a:lnTo>
                  <a:pt x="102" y="85"/>
                </a:lnTo>
                <a:lnTo>
                  <a:pt x="102" y="76"/>
                </a:lnTo>
                <a:lnTo>
                  <a:pt x="102" y="81"/>
                </a:lnTo>
                <a:lnTo>
                  <a:pt x="93" y="81"/>
                </a:lnTo>
                <a:lnTo>
                  <a:pt x="89" y="76"/>
                </a:lnTo>
                <a:lnTo>
                  <a:pt x="76" y="72"/>
                </a:lnTo>
                <a:lnTo>
                  <a:pt x="71" y="72"/>
                </a:lnTo>
                <a:lnTo>
                  <a:pt x="67" y="67"/>
                </a:lnTo>
                <a:lnTo>
                  <a:pt x="71" y="58"/>
                </a:lnTo>
                <a:lnTo>
                  <a:pt x="67" y="63"/>
                </a:lnTo>
                <a:lnTo>
                  <a:pt x="71" y="76"/>
                </a:lnTo>
                <a:lnTo>
                  <a:pt x="62" y="72"/>
                </a:lnTo>
                <a:lnTo>
                  <a:pt x="58" y="58"/>
                </a:lnTo>
                <a:lnTo>
                  <a:pt x="62" y="54"/>
                </a:lnTo>
                <a:lnTo>
                  <a:pt x="62" y="49"/>
                </a:lnTo>
                <a:lnTo>
                  <a:pt x="67" y="45"/>
                </a:lnTo>
                <a:lnTo>
                  <a:pt x="67" y="36"/>
                </a:lnTo>
                <a:lnTo>
                  <a:pt x="76" y="23"/>
                </a:lnTo>
                <a:lnTo>
                  <a:pt x="71" y="14"/>
                </a:lnTo>
                <a:lnTo>
                  <a:pt x="76" y="9"/>
                </a:lnTo>
                <a:lnTo>
                  <a:pt x="71" y="0"/>
                </a:lnTo>
                <a:lnTo>
                  <a:pt x="67" y="9"/>
                </a:lnTo>
                <a:lnTo>
                  <a:pt x="58" y="5"/>
                </a:lnTo>
                <a:lnTo>
                  <a:pt x="49" y="0"/>
                </a:lnTo>
                <a:lnTo>
                  <a:pt x="44" y="36"/>
                </a:lnTo>
                <a:lnTo>
                  <a:pt x="49" y="49"/>
                </a:lnTo>
                <a:close/>
                <a:moveTo>
                  <a:pt x="67" y="112"/>
                </a:moveTo>
                <a:lnTo>
                  <a:pt x="71" y="112"/>
                </a:lnTo>
                <a:lnTo>
                  <a:pt x="67" y="134"/>
                </a:lnTo>
                <a:lnTo>
                  <a:pt x="76" y="125"/>
                </a:lnTo>
                <a:lnTo>
                  <a:pt x="84" y="121"/>
                </a:lnTo>
                <a:lnTo>
                  <a:pt x="84" y="112"/>
                </a:lnTo>
                <a:lnTo>
                  <a:pt x="80" y="116"/>
                </a:lnTo>
                <a:lnTo>
                  <a:pt x="76" y="112"/>
                </a:lnTo>
                <a:lnTo>
                  <a:pt x="71" y="107"/>
                </a:lnTo>
                <a:lnTo>
                  <a:pt x="67" y="112"/>
                </a:lnTo>
                <a:close/>
                <a:moveTo>
                  <a:pt x="84" y="103"/>
                </a:moveTo>
                <a:lnTo>
                  <a:pt x="89" y="112"/>
                </a:lnTo>
                <a:lnTo>
                  <a:pt x="93" y="107"/>
                </a:lnTo>
                <a:lnTo>
                  <a:pt x="98" y="112"/>
                </a:lnTo>
                <a:lnTo>
                  <a:pt x="98" y="107"/>
                </a:lnTo>
                <a:lnTo>
                  <a:pt x="93" y="99"/>
                </a:lnTo>
                <a:lnTo>
                  <a:pt x="93" y="103"/>
                </a:lnTo>
                <a:lnTo>
                  <a:pt x="84" y="103"/>
                </a:lnTo>
                <a:close/>
                <a:moveTo>
                  <a:pt x="93" y="166"/>
                </a:moveTo>
                <a:lnTo>
                  <a:pt x="93" y="157"/>
                </a:lnTo>
                <a:lnTo>
                  <a:pt x="89" y="157"/>
                </a:lnTo>
                <a:lnTo>
                  <a:pt x="80" y="157"/>
                </a:lnTo>
                <a:lnTo>
                  <a:pt x="80" y="161"/>
                </a:lnTo>
                <a:lnTo>
                  <a:pt x="71" y="161"/>
                </a:lnTo>
                <a:lnTo>
                  <a:pt x="67" y="174"/>
                </a:lnTo>
                <a:lnTo>
                  <a:pt x="62" y="183"/>
                </a:lnTo>
                <a:lnTo>
                  <a:pt x="67" y="188"/>
                </a:lnTo>
                <a:lnTo>
                  <a:pt x="71" y="183"/>
                </a:lnTo>
                <a:lnTo>
                  <a:pt x="67" y="179"/>
                </a:lnTo>
                <a:lnTo>
                  <a:pt x="76" y="170"/>
                </a:lnTo>
                <a:lnTo>
                  <a:pt x="76" y="174"/>
                </a:lnTo>
                <a:lnTo>
                  <a:pt x="80" y="170"/>
                </a:lnTo>
                <a:lnTo>
                  <a:pt x="89" y="174"/>
                </a:lnTo>
                <a:lnTo>
                  <a:pt x="89" y="166"/>
                </a:lnTo>
                <a:lnTo>
                  <a:pt x="98" y="166"/>
                </a:lnTo>
                <a:lnTo>
                  <a:pt x="102" y="174"/>
                </a:lnTo>
                <a:lnTo>
                  <a:pt x="98" y="183"/>
                </a:lnTo>
                <a:lnTo>
                  <a:pt x="111" y="197"/>
                </a:lnTo>
                <a:lnTo>
                  <a:pt x="116" y="192"/>
                </a:lnTo>
                <a:lnTo>
                  <a:pt x="120" y="201"/>
                </a:lnTo>
                <a:lnTo>
                  <a:pt x="125" y="197"/>
                </a:lnTo>
                <a:lnTo>
                  <a:pt x="125" y="183"/>
                </a:lnTo>
                <a:lnTo>
                  <a:pt x="116" y="179"/>
                </a:lnTo>
                <a:lnTo>
                  <a:pt x="125" y="179"/>
                </a:lnTo>
                <a:lnTo>
                  <a:pt x="120" y="170"/>
                </a:lnTo>
                <a:lnTo>
                  <a:pt x="125" y="170"/>
                </a:lnTo>
                <a:lnTo>
                  <a:pt x="129" y="192"/>
                </a:lnTo>
                <a:lnTo>
                  <a:pt x="134" y="170"/>
                </a:lnTo>
                <a:lnTo>
                  <a:pt x="134" y="152"/>
                </a:lnTo>
                <a:lnTo>
                  <a:pt x="129" y="148"/>
                </a:lnTo>
                <a:lnTo>
                  <a:pt x="129" y="139"/>
                </a:lnTo>
                <a:lnTo>
                  <a:pt x="125" y="143"/>
                </a:lnTo>
                <a:lnTo>
                  <a:pt x="125" y="134"/>
                </a:lnTo>
                <a:lnTo>
                  <a:pt x="120" y="152"/>
                </a:lnTo>
                <a:lnTo>
                  <a:pt x="116" y="152"/>
                </a:lnTo>
                <a:lnTo>
                  <a:pt x="111" y="148"/>
                </a:lnTo>
                <a:lnTo>
                  <a:pt x="111" y="157"/>
                </a:lnTo>
                <a:lnTo>
                  <a:pt x="102" y="152"/>
                </a:lnTo>
                <a:lnTo>
                  <a:pt x="93" y="166"/>
                </a:lnTo>
                <a:close/>
                <a:moveTo>
                  <a:pt x="93" y="125"/>
                </a:moveTo>
                <a:lnTo>
                  <a:pt x="84" y="121"/>
                </a:lnTo>
                <a:lnTo>
                  <a:pt x="80" y="125"/>
                </a:lnTo>
                <a:lnTo>
                  <a:pt x="80" y="130"/>
                </a:lnTo>
                <a:lnTo>
                  <a:pt x="71" y="139"/>
                </a:lnTo>
                <a:lnTo>
                  <a:pt x="76" y="148"/>
                </a:lnTo>
                <a:lnTo>
                  <a:pt x="80" y="148"/>
                </a:lnTo>
                <a:lnTo>
                  <a:pt x="84" y="152"/>
                </a:lnTo>
                <a:lnTo>
                  <a:pt x="89" y="148"/>
                </a:lnTo>
                <a:lnTo>
                  <a:pt x="84" y="139"/>
                </a:lnTo>
                <a:lnTo>
                  <a:pt x="93" y="125"/>
                </a:lnTo>
                <a:close/>
                <a:moveTo>
                  <a:pt x="98" y="116"/>
                </a:moveTo>
                <a:lnTo>
                  <a:pt x="93" y="130"/>
                </a:lnTo>
                <a:lnTo>
                  <a:pt x="89" y="139"/>
                </a:lnTo>
                <a:lnTo>
                  <a:pt x="89" y="148"/>
                </a:lnTo>
                <a:lnTo>
                  <a:pt x="98" y="125"/>
                </a:lnTo>
                <a:lnTo>
                  <a:pt x="98" y="116"/>
                </a:lnTo>
                <a:close/>
                <a:moveTo>
                  <a:pt x="102" y="112"/>
                </a:moveTo>
                <a:lnTo>
                  <a:pt x="102" y="116"/>
                </a:lnTo>
                <a:lnTo>
                  <a:pt x="102" y="125"/>
                </a:lnTo>
                <a:lnTo>
                  <a:pt x="107" y="125"/>
                </a:lnTo>
                <a:lnTo>
                  <a:pt x="111" y="139"/>
                </a:lnTo>
                <a:lnTo>
                  <a:pt x="120" y="139"/>
                </a:lnTo>
                <a:lnTo>
                  <a:pt x="116" y="130"/>
                </a:lnTo>
                <a:lnTo>
                  <a:pt x="111" y="121"/>
                </a:lnTo>
                <a:lnTo>
                  <a:pt x="116" y="121"/>
                </a:lnTo>
                <a:lnTo>
                  <a:pt x="111" y="116"/>
                </a:lnTo>
                <a:lnTo>
                  <a:pt x="107" y="116"/>
                </a:lnTo>
                <a:lnTo>
                  <a:pt x="102" y="112"/>
                </a:lnTo>
                <a:close/>
                <a:moveTo>
                  <a:pt x="102" y="103"/>
                </a:moveTo>
                <a:lnTo>
                  <a:pt x="107" y="107"/>
                </a:lnTo>
                <a:lnTo>
                  <a:pt x="111" y="112"/>
                </a:lnTo>
                <a:lnTo>
                  <a:pt x="120" y="125"/>
                </a:lnTo>
                <a:lnTo>
                  <a:pt x="129" y="125"/>
                </a:lnTo>
                <a:lnTo>
                  <a:pt x="125" y="121"/>
                </a:lnTo>
                <a:lnTo>
                  <a:pt x="120" y="107"/>
                </a:lnTo>
                <a:lnTo>
                  <a:pt x="116" y="99"/>
                </a:lnTo>
                <a:lnTo>
                  <a:pt x="102" y="103"/>
                </a:lnTo>
                <a:close/>
                <a:moveTo>
                  <a:pt x="102" y="134"/>
                </a:moveTo>
                <a:lnTo>
                  <a:pt x="98" y="139"/>
                </a:lnTo>
                <a:lnTo>
                  <a:pt x="93" y="143"/>
                </a:lnTo>
                <a:lnTo>
                  <a:pt x="107" y="143"/>
                </a:lnTo>
                <a:lnTo>
                  <a:pt x="102" y="134"/>
                </a:lnTo>
                <a:close/>
              </a:path>
            </a:pathLst>
          </a:custGeom>
          <a:solidFill>
            <a:schemeClr val="tx2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7" name="Freeform 178"/>
          <p:cNvSpPr>
            <a:spLocks/>
          </p:cNvSpPr>
          <p:nvPr/>
        </p:nvSpPr>
        <p:spPr bwMode="gray">
          <a:xfrm>
            <a:off x="3870529" y="5240413"/>
            <a:ext cx="49283" cy="28013"/>
          </a:xfrm>
          <a:custGeom>
            <a:avLst/>
            <a:gdLst>
              <a:gd name="T0" fmla="*/ 0 w 36"/>
              <a:gd name="T1" fmla="*/ 23 h 23"/>
              <a:gd name="T2" fmla="*/ 36 w 36"/>
              <a:gd name="T3" fmla="*/ 0 h 23"/>
              <a:gd name="T4" fmla="*/ 32 w 36"/>
              <a:gd name="T5" fmla="*/ 0 h 23"/>
              <a:gd name="T6" fmla="*/ 5 w 36"/>
              <a:gd name="T7" fmla="*/ 5 h 23"/>
              <a:gd name="T8" fmla="*/ 0 w 36"/>
              <a:gd name="T9" fmla="*/ 14 h 23"/>
              <a:gd name="T10" fmla="*/ 0 w 36"/>
              <a:gd name="T11" fmla="*/ 23 h 2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6"/>
              <a:gd name="T19" fmla="*/ 0 h 23"/>
              <a:gd name="T20" fmla="*/ 36 w 36"/>
              <a:gd name="T21" fmla="*/ 23 h 2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6" h="23">
                <a:moveTo>
                  <a:pt x="0" y="23"/>
                </a:moveTo>
                <a:lnTo>
                  <a:pt x="36" y="0"/>
                </a:lnTo>
                <a:lnTo>
                  <a:pt x="32" y="0"/>
                </a:lnTo>
                <a:lnTo>
                  <a:pt x="5" y="5"/>
                </a:lnTo>
                <a:lnTo>
                  <a:pt x="0" y="14"/>
                </a:lnTo>
                <a:lnTo>
                  <a:pt x="0" y="23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8" name="Freeform 179"/>
          <p:cNvSpPr>
            <a:spLocks/>
          </p:cNvSpPr>
          <p:nvPr/>
        </p:nvSpPr>
        <p:spPr bwMode="gray">
          <a:xfrm>
            <a:off x="2422170" y="4604645"/>
            <a:ext cx="17796" cy="31667"/>
          </a:xfrm>
          <a:custGeom>
            <a:avLst/>
            <a:gdLst>
              <a:gd name="T0" fmla="*/ 0 w 13"/>
              <a:gd name="T1" fmla="*/ 22 h 26"/>
              <a:gd name="T2" fmla="*/ 9 w 13"/>
              <a:gd name="T3" fmla="*/ 26 h 26"/>
              <a:gd name="T4" fmla="*/ 13 w 13"/>
              <a:gd name="T5" fmla="*/ 26 h 26"/>
              <a:gd name="T6" fmla="*/ 13 w 13"/>
              <a:gd name="T7" fmla="*/ 8 h 26"/>
              <a:gd name="T8" fmla="*/ 9 w 13"/>
              <a:gd name="T9" fmla="*/ 0 h 26"/>
              <a:gd name="T10" fmla="*/ 4 w 13"/>
              <a:gd name="T11" fmla="*/ 0 h 26"/>
              <a:gd name="T12" fmla="*/ 4 w 13"/>
              <a:gd name="T13" fmla="*/ 8 h 26"/>
              <a:gd name="T14" fmla="*/ 0 w 13"/>
              <a:gd name="T15" fmla="*/ 8 h 26"/>
              <a:gd name="T16" fmla="*/ 0 w 13"/>
              <a:gd name="T17" fmla="*/ 22 h 2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"/>
              <a:gd name="T28" fmla="*/ 0 h 26"/>
              <a:gd name="T29" fmla="*/ 13 w 13"/>
              <a:gd name="T30" fmla="*/ 26 h 2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" h="26">
                <a:moveTo>
                  <a:pt x="0" y="22"/>
                </a:moveTo>
                <a:lnTo>
                  <a:pt x="9" y="26"/>
                </a:lnTo>
                <a:lnTo>
                  <a:pt x="13" y="26"/>
                </a:lnTo>
                <a:lnTo>
                  <a:pt x="13" y="8"/>
                </a:lnTo>
                <a:lnTo>
                  <a:pt x="9" y="0"/>
                </a:lnTo>
                <a:lnTo>
                  <a:pt x="4" y="0"/>
                </a:lnTo>
                <a:lnTo>
                  <a:pt x="4" y="8"/>
                </a:lnTo>
                <a:lnTo>
                  <a:pt x="0" y="8"/>
                </a:lnTo>
                <a:lnTo>
                  <a:pt x="0" y="22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59" name="Freeform 180"/>
          <p:cNvSpPr>
            <a:spLocks noEditPoints="1"/>
          </p:cNvSpPr>
          <p:nvPr/>
        </p:nvSpPr>
        <p:spPr bwMode="gray">
          <a:xfrm>
            <a:off x="1803400" y="2813046"/>
            <a:ext cx="3351213" cy="1474933"/>
          </a:xfrm>
          <a:custGeom>
            <a:avLst/>
            <a:gdLst>
              <a:gd name="T0" fmla="*/ 23 w 2448"/>
              <a:gd name="T1" fmla="*/ 907 h 1211"/>
              <a:gd name="T2" fmla="*/ 152 w 2448"/>
              <a:gd name="T3" fmla="*/ 764 h 1211"/>
              <a:gd name="T4" fmla="*/ 157 w 2448"/>
              <a:gd name="T5" fmla="*/ 630 h 1211"/>
              <a:gd name="T6" fmla="*/ 170 w 2448"/>
              <a:gd name="T7" fmla="*/ 429 h 1211"/>
              <a:gd name="T8" fmla="*/ 300 w 2448"/>
              <a:gd name="T9" fmla="*/ 505 h 1211"/>
              <a:gd name="T10" fmla="*/ 224 w 2448"/>
              <a:gd name="T11" fmla="*/ 613 h 1211"/>
              <a:gd name="T12" fmla="*/ 318 w 2448"/>
              <a:gd name="T13" fmla="*/ 577 h 1211"/>
              <a:gd name="T14" fmla="*/ 385 w 2448"/>
              <a:gd name="T15" fmla="*/ 541 h 1211"/>
              <a:gd name="T16" fmla="*/ 577 w 2448"/>
              <a:gd name="T17" fmla="*/ 474 h 1211"/>
              <a:gd name="T18" fmla="*/ 697 w 2448"/>
              <a:gd name="T19" fmla="*/ 358 h 1211"/>
              <a:gd name="T20" fmla="*/ 755 w 2448"/>
              <a:gd name="T21" fmla="*/ 568 h 1211"/>
              <a:gd name="T22" fmla="*/ 796 w 2448"/>
              <a:gd name="T23" fmla="*/ 318 h 1211"/>
              <a:gd name="T24" fmla="*/ 867 w 2448"/>
              <a:gd name="T25" fmla="*/ 318 h 1211"/>
              <a:gd name="T26" fmla="*/ 965 w 2448"/>
              <a:gd name="T27" fmla="*/ 170 h 1211"/>
              <a:gd name="T28" fmla="*/ 1229 w 2448"/>
              <a:gd name="T29" fmla="*/ 41 h 1211"/>
              <a:gd name="T30" fmla="*/ 1314 w 2448"/>
              <a:gd name="T31" fmla="*/ 242 h 1211"/>
              <a:gd name="T32" fmla="*/ 1573 w 2448"/>
              <a:gd name="T33" fmla="*/ 349 h 1211"/>
              <a:gd name="T34" fmla="*/ 1823 w 2448"/>
              <a:gd name="T35" fmla="*/ 309 h 1211"/>
              <a:gd name="T36" fmla="*/ 2073 w 2448"/>
              <a:gd name="T37" fmla="*/ 438 h 1211"/>
              <a:gd name="T38" fmla="*/ 2377 w 2448"/>
              <a:gd name="T39" fmla="*/ 537 h 1211"/>
              <a:gd name="T40" fmla="*/ 2310 w 2448"/>
              <a:gd name="T41" fmla="*/ 595 h 1211"/>
              <a:gd name="T42" fmla="*/ 2095 w 2448"/>
              <a:gd name="T43" fmla="*/ 782 h 1211"/>
              <a:gd name="T44" fmla="*/ 2011 w 2448"/>
              <a:gd name="T45" fmla="*/ 957 h 1211"/>
              <a:gd name="T46" fmla="*/ 2055 w 2448"/>
              <a:gd name="T47" fmla="*/ 724 h 1211"/>
              <a:gd name="T48" fmla="*/ 1854 w 2448"/>
              <a:gd name="T49" fmla="*/ 782 h 1211"/>
              <a:gd name="T50" fmla="*/ 1716 w 2448"/>
              <a:gd name="T51" fmla="*/ 1091 h 1211"/>
              <a:gd name="T52" fmla="*/ 1649 w 2448"/>
              <a:gd name="T53" fmla="*/ 1068 h 1211"/>
              <a:gd name="T54" fmla="*/ 1448 w 2448"/>
              <a:gd name="T55" fmla="*/ 979 h 1211"/>
              <a:gd name="T56" fmla="*/ 1140 w 2448"/>
              <a:gd name="T57" fmla="*/ 979 h 1211"/>
              <a:gd name="T58" fmla="*/ 934 w 2448"/>
              <a:gd name="T59" fmla="*/ 1028 h 1211"/>
              <a:gd name="T60" fmla="*/ 800 w 2448"/>
              <a:gd name="T61" fmla="*/ 934 h 1211"/>
              <a:gd name="T62" fmla="*/ 697 w 2448"/>
              <a:gd name="T63" fmla="*/ 912 h 1211"/>
              <a:gd name="T64" fmla="*/ 590 w 2448"/>
              <a:gd name="T65" fmla="*/ 961 h 1211"/>
              <a:gd name="T66" fmla="*/ 532 w 2448"/>
              <a:gd name="T67" fmla="*/ 1001 h 1211"/>
              <a:gd name="T68" fmla="*/ 434 w 2448"/>
              <a:gd name="T69" fmla="*/ 1010 h 1211"/>
              <a:gd name="T70" fmla="*/ 420 w 2448"/>
              <a:gd name="T71" fmla="*/ 1091 h 1211"/>
              <a:gd name="T72" fmla="*/ 411 w 2448"/>
              <a:gd name="T73" fmla="*/ 1211 h 1211"/>
              <a:gd name="T74" fmla="*/ 322 w 2448"/>
              <a:gd name="T75" fmla="*/ 1171 h 1211"/>
              <a:gd name="T76" fmla="*/ 273 w 2448"/>
              <a:gd name="T77" fmla="*/ 1091 h 1211"/>
              <a:gd name="T78" fmla="*/ 260 w 2448"/>
              <a:gd name="T79" fmla="*/ 1019 h 1211"/>
              <a:gd name="T80" fmla="*/ 170 w 2448"/>
              <a:gd name="T81" fmla="*/ 957 h 1211"/>
              <a:gd name="T82" fmla="*/ 139 w 2448"/>
              <a:gd name="T83" fmla="*/ 881 h 1211"/>
              <a:gd name="T84" fmla="*/ 188 w 2448"/>
              <a:gd name="T85" fmla="*/ 764 h 1211"/>
              <a:gd name="T86" fmla="*/ 429 w 2448"/>
              <a:gd name="T87" fmla="*/ 443 h 1211"/>
              <a:gd name="T88" fmla="*/ 711 w 2448"/>
              <a:gd name="T89" fmla="*/ 67 h 1211"/>
              <a:gd name="T90" fmla="*/ 528 w 2448"/>
              <a:gd name="T91" fmla="*/ 188 h 1211"/>
              <a:gd name="T92" fmla="*/ 537 w 2448"/>
              <a:gd name="T93" fmla="*/ 376 h 1211"/>
              <a:gd name="T94" fmla="*/ 483 w 2448"/>
              <a:gd name="T95" fmla="*/ 353 h 1211"/>
              <a:gd name="T96" fmla="*/ 550 w 2448"/>
              <a:gd name="T97" fmla="*/ 385 h 1211"/>
              <a:gd name="T98" fmla="*/ 1296 w 2448"/>
              <a:gd name="T99" fmla="*/ 890 h 1211"/>
              <a:gd name="T100" fmla="*/ 1693 w 2448"/>
              <a:gd name="T101" fmla="*/ 121 h 1211"/>
              <a:gd name="T102" fmla="*/ 1760 w 2448"/>
              <a:gd name="T103" fmla="*/ 130 h 1211"/>
              <a:gd name="T104" fmla="*/ 1734 w 2448"/>
              <a:gd name="T105" fmla="*/ 242 h 1211"/>
              <a:gd name="T106" fmla="*/ 1756 w 2448"/>
              <a:gd name="T107" fmla="*/ 939 h 1211"/>
              <a:gd name="T108" fmla="*/ 1792 w 2448"/>
              <a:gd name="T109" fmla="*/ 1055 h 1211"/>
              <a:gd name="T110" fmla="*/ 1823 w 2448"/>
              <a:gd name="T111" fmla="*/ 1144 h 1211"/>
              <a:gd name="T112" fmla="*/ 1832 w 2448"/>
              <a:gd name="T113" fmla="*/ 188 h 1211"/>
              <a:gd name="T114" fmla="*/ 1903 w 2448"/>
              <a:gd name="T115" fmla="*/ 1086 h 1211"/>
              <a:gd name="T116" fmla="*/ 1953 w 2448"/>
              <a:gd name="T117" fmla="*/ 1015 h 1211"/>
              <a:gd name="T118" fmla="*/ 2091 w 2448"/>
              <a:gd name="T119" fmla="*/ 903 h 121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448"/>
              <a:gd name="T181" fmla="*/ 0 h 1211"/>
              <a:gd name="T182" fmla="*/ 2448 w 2448"/>
              <a:gd name="T183" fmla="*/ 1211 h 121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448" h="1211">
                <a:moveTo>
                  <a:pt x="23" y="894"/>
                </a:moveTo>
                <a:lnTo>
                  <a:pt x="27" y="894"/>
                </a:lnTo>
                <a:lnTo>
                  <a:pt x="27" y="899"/>
                </a:lnTo>
                <a:lnTo>
                  <a:pt x="41" y="903"/>
                </a:lnTo>
                <a:lnTo>
                  <a:pt x="50" y="903"/>
                </a:lnTo>
                <a:lnTo>
                  <a:pt x="50" y="907"/>
                </a:lnTo>
                <a:lnTo>
                  <a:pt x="50" y="921"/>
                </a:lnTo>
                <a:lnTo>
                  <a:pt x="27" y="921"/>
                </a:lnTo>
                <a:lnTo>
                  <a:pt x="9" y="916"/>
                </a:lnTo>
                <a:lnTo>
                  <a:pt x="0" y="916"/>
                </a:lnTo>
                <a:lnTo>
                  <a:pt x="9" y="912"/>
                </a:lnTo>
                <a:lnTo>
                  <a:pt x="5" y="912"/>
                </a:lnTo>
                <a:lnTo>
                  <a:pt x="5" y="907"/>
                </a:lnTo>
                <a:lnTo>
                  <a:pt x="14" y="903"/>
                </a:lnTo>
                <a:lnTo>
                  <a:pt x="18" y="894"/>
                </a:lnTo>
                <a:lnTo>
                  <a:pt x="14" y="907"/>
                </a:lnTo>
                <a:lnTo>
                  <a:pt x="23" y="907"/>
                </a:lnTo>
                <a:lnTo>
                  <a:pt x="27" y="903"/>
                </a:lnTo>
                <a:lnTo>
                  <a:pt x="23" y="894"/>
                </a:lnTo>
                <a:close/>
                <a:moveTo>
                  <a:pt x="117" y="840"/>
                </a:moveTo>
                <a:lnTo>
                  <a:pt x="126" y="836"/>
                </a:lnTo>
                <a:lnTo>
                  <a:pt x="130" y="832"/>
                </a:lnTo>
                <a:lnTo>
                  <a:pt x="121" y="823"/>
                </a:lnTo>
                <a:lnTo>
                  <a:pt x="117" y="814"/>
                </a:lnTo>
                <a:lnTo>
                  <a:pt x="117" y="809"/>
                </a:lnTo>
                <a:lnTo>
                  <a:pt x="117" y="800"/>
                </a:lnTo>
                <a:lnTo>
                  <a:pt x="126" y="796"/>
                </a:lnTo>
                <a:lnTo>
                  <a:pt x="130" y="787"/>
                </a:lnTo>
                <a:lnTo>
                  <a:pt x="126" y="778"/>
                </a:lnTo>
                <a:lnTo>
                  <a:pt x="126" y="773"/>
                </a:lnTo>
                <a:lnTo>
                  <a:pt x="130" y="778"/>
                </a:lnTo>
                <a:lnTo>
                  <a:pt x="139" y="769"/>
                </a:lnTo>
                <a:lnTo>
                  <a:pt x="148" y="773"/>
                </a:lnTo>
                <a:lnTo>
                  <a:pt x="152" y="764"/>
                </a:lnTo>
                <a:lnTo>
                  <a:pt x="148" y="764"/>
                </a:lnTo>
                <a:lnTo>
                  <a:pt x="134" y="764"/>
                </a:lnTo>
                <a:lnTo>
                  <a:pt x="130" y="756"/>
                </a:lnTo>
                <a:lnTo>
                  <a:pt x="134" y="756"/>
                </a:lnTo>
                <a:lnTo>
                  <a:pt x="134" y="747"/>
                </a:lnTo>
                <a:lnTo>
                  <a:pt x="130" y="756"/>
                </a:lnTo>
                <a:lnTo>
                  <a:pt x="126" y="756"/>
                </a:lnTo>
                <a:lnTo>
                  <a:pt x="134" y="747"/>
                </a:lnTo>
                <a:lnTo>
                  <a:pt x="143" y="738"/>
                </a:lnTo>
                <a:lnTo>
                  <a:pt x="148" y="724"/>
                </a:lnTo>
                <a:lnTo>
                  <a:pt x="175" y="697"/>
                </a:lnTo>
                <a:lnTo>
                  <a:pt x="179" y="689"/>
                </a:lnTo>
                <a:lnTo>
                  <a:pt x="161" y="671"/>
                </a:lnTo>
                <a:lnTo>
                  <a:pt x="148" y="657"/>
                </a:lnTo>
                <a:lnTo>
                  <a:pt x="161" y="644"/>
                </a:lnTo>
                <a:lnTo>
                  <a:pt x="148" y="635"/>
                </a:lnTo>
                <a:lnTo>
                  <a:pt x="157" y="630"/>
                </a:lnTo>
                <a:lnTo>
                  <a:pt x="148" y="626"/>
                </a:lnTo>
                <a:lnTo>
                  <a:pt x="148" y="581"/>
                </a:lnTo>
                <a:lnTo>
                  <a:pt x="157" y="577"/>
                </a:lnTo>
                <a:lnTo>
                  <a:pt x="148" y="563"/>
                </a:lnTo>
                <a:lnTo>
                  <a:pt x="143" y="546"/>
                </a:lnTo>
                <a:lnTo>
                  <a:pt x="134" y="532"/>
                </a:lnTo>
                <a:lnTo>
                  <a:pt x="148" y="505"/>
                </a:lnTo>
                <a:lnTo>
                  <a:pt x="148" y="496"/>
                </a:lnTo>
                <a:lnTo>
                  <a:pt x="134" y="487"/>
                </a:lnTo>
                <a:lnTo>
                  <a:pt x="130" y="470"/>
                </a:lnTo>
                <a:lnTo>
                  <a:pt x="139" y="452"/>
                </a:lnTo>
                <a:lnTo>
                  <a:pt x="148" y="438"/>
                </a:lnTo>
                <a:lnTo>
                  <a:pt x="148" y="429"/>
                </a:lnTo>
                <a:lnTo>
                  <a:pt x="157" y="438"/>
                </a:lnTo>
                <a:lnTo>
                  <a:pt x="161" y="425"/>
                </a:lnTo>
                <a:lnTo>
                  <a:pt x="170" y="429"/>
                </a:lnTo>
                <a:lnTo>
                  <a:pt x="175" y="425"/>
                </a:lnTo>
                <a:lnTo>
                  <a:pt x="175" y="416"/>
                </a:lnTo>
                <a:lnTo>
                  <a:pt x="197" y="425"/>
                </a:lnTo>
                <a:lnTo>
                  <a:pt x="193" y="434"/>
                </a:lnTo>
                <a:lnTo>
                  <a:pt x="179" y="429"/>
                </a:lnTo>
                <a:lnTo>
                  <a:pt x="179" y="434"/>
                </a:lnTo>
                <a:lnTo>
                  <a:pt x="201" y="443"/>
                </a:lnTo>
                <a:lnTo>
                  <a:pt x="197" y="456"/>
                </a:lnTo>
                <a:lnTo>
                  <a:pt x="206" y="452"/>
                </a:lnTo>
                <a:lnTo>
                  <a:pt x="224" y="452"/>
                </a:lnTo>
                <a:lnTo>
                  <a:pt x="228" y="447"/>
                </a:lnTo>
                <a:lnTo>
                  <a:pt x="233" y="447"/>
                </a:lnTo>
                <a:lnTo>
                  <a:pt x="246" y="456"/>
                </a:lnTo>
                <a:lnTo>
                  <a:pt x="273" y="483"/>
                </a:lnTo>
                <a:lnTo>
                  <a:pt x="277" y="478"/>
                </a:lnTo>
                <a:lnTo>
                  <a:pt x="300" y="496"/>
                </a:lnTo>
                <a:lnTo>
                  <a:pt x="300" y="505"/>
                </a:lnTo>
                <a:lnTo>
                  <a:pt x="309" y="510"/>
                </a:lnTo>
                <a:lnTo>
                  <a:pt x="309" y="537"/>
                </a:lnTo>
                <a:lnTo>
                  <a:pt x="300" y="563"/>
                </a:lnTo>
                <a:lnTo>
                  <a:pt x="282" y="572"/>
                </a:lnTo>
                <a:lnTo>
                  <a:pt x="246" y="568"/>
                </a:lnTo>
                <a:lnTo>
                  <a:pt x="219" y="559"/>
                </a:lnTo>
                <a:lnTo>
                  <a:pt x="201" y="550"/>
                </a:lnTo>
                <a:lnTo>
                  <a:pt x="193" y="537"/>
                </a:lnTo>
                <a:lnTo>
                  <a:pt x="184" y="537"/>
                </a:lnTo>
                <a:lnTo>
                  <a:pt x="188" y="550"/>
                </a:lnTo>
                <a:lnTo>
                  <a:pt x="197" y="554"/>
                </a:lnTo>
                <a:lnTo>
                  <a:pt x="197" y="559"/>
                </a:lnTo>
                <a:lnTo>
                  <a:pt x="206" y="563"/>
                </a:lnTo>
                <a:lnTo>
                  <a:pt x="219" y="568"/>
                </a:lnTo>
                <a:lnTo>
                  <a:pt x="224" y="581"/>
                </a:lnTo>
                <a:lnTo>
                  <a:pt x="219" y="604"/>
                </a:lnTo>
                <a:lnTo>
                  <a:pt x="224" y="613"/>
                </a:lnTo>
                <a:lnTo>
                  <a:pt x="219" y="630"/>
                </a:lnTo>
                <a:lnTo>
                  <a:pt x="233" y="630"/>
                </a:lnTo>
                <a:lnTo>
                  <a:pt x="246" y="644"/>
                </a:lnTo>
                <a:lnTo>
                  <a:pt x="268" y="644"/>
                </a:lnTo>
                <a:lnTo>
                  <a:pt x="268" y="630"/>
                </a:lnTo>
                <a:lnTo>
                  <a:pt x="255" y="630"/>
                </a:lnTo>
                <a:lnTo>
                  <a:pt x="246" y="617"/>
                </a:lnTo>
                <a:lnTo>
                  <a:pt x="251" y="604"/>
                </a:lnTo>
                <a:lnTo>
                  <a:pt x="260" y="608"/>
                </a:lnTo>
                <a:lnTo>
                  <a:pt x="291" y="626"/>
                </a:lnTo>
                <a:lnTo>
                  <a:pt x="304" y="626"/>
                </a:lnTo>
                <a:lnTo>
                  <a:pt x="300" y="617"/>
                </a:lnTo>
                <a:lnTo>
                  <a:pt x="291" y="604"/>
                </a:lnTo>
                <a:lnTo>
                  <a:pt x="291" y="595"/>
                </a:lnTo>
                <a:lnTo>
                  <a:pt x="300" y="586"/>
                </a:lnTo>
                <a:lnTo>
                  <a:pt x="304" y="577"/>
                </a:lnTo>
                <a:lnTo>
                  <a:pt x="318" y="577"/>
                </a:lnTo>
                <a:lnTo>
                  <a:pt x="327" y="559"/>
                </a:lnTo>
                <a:lnTo>
                  <a:pt x="358" y="572"/>
                </a:lnTo>
                <a:lnTo>
                  <a:pt x="362" y="546"/>
                </a:lnTo>
                <a:lnTo>
                  <a:pt x="362" y="528"/>
                </a:lnTo>
                <a:lnTo>
                  <a:pt x="349" y="528"/>
                </a:lnTo>
                <a:lnTo>
                  <a:pt x="349" y="505"/>
                </a:lnTo>
                <a:lnTo>
                  <a:pt x="353" y="487"/>
                </a:lnTo>
                <a:lnTo>
                  <a:pt x="340" y="474"/>
                </a:lnTo>
                <a:lnTo>
                  <a:pt x="344" y="470"/>
                </a:lnTo>
                <a:lnTo>
                  <a:pt x="358" y="474"/>
                </a:lnTo>
                <a:lnTo>
                  <a:pt x="371" y="474"/>
                </a:lnTo>
                <a:lnTo>
                  <a:pt x="389" y="492"/>
                </a:lnTo>
                <a:lnTo>
                  <a:pt x="394" y="501"/>
                </a:lnTo>
                <a:lnTo>
                  <a:pt x="376" y="505"/>
                </a:lnTo>
                <a:lnTo>
                  <a:pt x="371" y="519"/>
                </a:lnTo>
                <a:lnTo>
                  <a:pt x="376" y="523"/>
                </a:lnTo>
                <a:lnTo>
                  <a:pt x="385" y="541"/>
                </a:lnTo>
                <a:lnTo>
                  <a:pt x="407" y="541"/>
                </a:lnTo>
                <a:lnTo>
                  <a:pt x="411" y="510"/>
                </a:lnTo>
                <a:lnTo>
                  <a:pt x="447" y="483"/>
                </a:lnTo>
                <a:lnTo>
                  <a:pt x="456" y="483"/>
                </a:lnTo>
                <a:lnTo>
                  <a:pt x="487" y="461"/>
                </a:lnTo>
                <a:lnTo>
                  <a:pt x="501" y="461"/>
                </a:lnTo>
                <a:lnTo>
                  <a:pt x="492" y="474"/>
                </a:lnTo>
                <a:lnTo>
                  <a:pt x="496" y="483"/>
                </a:lnTo>
                <a:lnTo>
                  <a:pt x="487" y="487"/>
                </a:lnTo>
                <a:lnTo>
                  <a:pt x="501" y="492"/>
                </a:lnTo>
                <a:lnTo>
                  <a:pt x="523" y="474"/>
                </a:lnTo>
                <a:lnTo>
                  <a:pt x="541" y="474"/>
                </a:lnTo>
                <a:lnTo>
                  <a:pt x="559" y="461"/>
                </a:lnTo>
                <a:lnTo>
                  <a:pt x="568" y="461"/>
                </a:lnTo>
                <a:lnTo>
                  <a:pt x="568" y="483"/>
                </a:lnTo>
                <a:lnTo>
                  <a:pt x="581" y="483"/>
                </a:lnTo>
                <a:lnTo>
                  <a:pt x="577" y="474"/>
                </a:lnTo>
                <a:lnTo>
                  <a:pt x="595" y="465"/>
                </a:lnTo>
                <a:lnTo>
                  <a:pt x="586" y="438"/>
                </a:lnTo>
                <a:lnTo>
                  <a:pt x="595" y="429"/>
                </a:lnTo>
                <a:lnTo>
                  <a:pt x="630" y="434"/>
                </a:lnTo>
                <a:lnTo>
                  <a:pt x="662" y="456"/>
                </a:lnTo>
                <a:lnTo>
                  <a:pt x="693" y="478"/>
                </a:lnTo>
                <a:lnTo>
                  <a:pt x="702" y="496"/>
                </a:lnTo>
                <a:lnTo>
                  <a:pt x="711" y="470"/>
                </a:lnTo>
                <a:lnTo>
                  <a:pt x="702" y="470"/>
                </a:lnTo>
                <a:lnTo>
                  <a:pt x="693" y="443"/>
                </a:lnTo>
                <a:lnTo>
                  <a:pt x="679" y="443"/>
                </a:lnTo>
                <a:lnTo>
                  <a:pt x="679" y="420"/>
                </a:lnTo>
                <a:lnTo>
                  <a:pt x="684" y="411"/>
                </a:lnTo>
                <a:lnTo>
                  <a:pt x="684" y="389"/>
                </a:lnTo>
                <a:lnTo>
                  <a:pt x="675" y="394"/>
                </a:lnTo>
                <a:lnTo>
                  <a:pt x="684" y="362"/>
                </a:lnTo>
                <a:lnTo>
                  <a:pt x="697" y="358"/>
                </a:lnTo>
                <a:lnTo>
                  <a:pt x="706" y="331"/>
                </a:lnTo>
                <a:lnTo>
                  <a:pt x="711" y="295"/>
                </a:lnTo>
                <a:lnTo>
                  <a:pt x="720" y="282"/>
                </a:lnTo>
                <a:lnTo>
                  <a:pt x="751" y="282"/>
                </a:lnTo>
                <a:lnTo>
                  <a:pt x="760" y="291"/>
                </a:lnTo>
                <a:lnTo>
                  <a:pt x="755" y="340"/>
                </a:lnTo>
                <a:lnTo>
                  <a:pt x="746" y="340"/>
                </a:lnTo>
                <a:lnTo>
                  <a:pt x="769" y="376"/>
                </a:lnTo>
                <a:lnTo>
                  <a:pt x="760" y="456"/>
                </a:lnTo>
                <a:lnTo>
                  <a:pt x="773" y="478"/>
                </a:lnTo>
                <a:lnTo>
                  <a:pt x="764" y="492"/>
                </a:lnTo>
                <a:lnTo>
                  <a:pt x="769" y="510"/>
                </a:lnTo>
                <a:lnTo>
                  <a:pt x="755" y="537"/>
                </a:lnTo>
                <a:lnTo>
                  <a:pt x="746" y="546"/>
                </a:lnTo>
                <a:lnTo>
                  <a:pt x="738" y="554"/>
                </a:lnTo>
                <a:lnTo>
                  <a:pt x="742" y="563"/>
                </a:lnTo>
                <a:lnTo>
                  <a:pt x="755" y="568"/>
                </a:lnTo>
                <a:lnTo>
                  <a:pt x="760" y="554"/>
                </a:lnTo>
                <a:lnTo>
                  <a:pt x="778" y="541"/>
                </a:lnTo>
                <a:lnTo>
                  <a:pt x="782" y="514"/>
                </a:lnTo>
                <a:lnTo>
                  <a:pt x="791" y="510"/>
                </a:lnTo>
                <a:lnTo>
                  <a:pt x="791" y="478"/>
                </a:lnTo>
                <a:lnTo>
                  <a:pt x="818" y="465"/>
                </a:lnTo>
                <a:lnTo>
                  <a:pt x="827" y="505"/>
                </a:lnTo>
                <a:lnTo>
                  <a:pt x="840" y="487"/>
                </a:lnTo>
                <a:lnTo>
                  <a:pt x="836" y="465"/>
                </a:lnTo>
                <a:lnTo>
                  <a:pt x="809" y="456"/>
                </a:lnTo>
                <a:lnTo>
                  <a:pt x="778" y="461"/>
                </a:lnTo>
                <a:lnTo>
                  <a:pt x="773" y="416"/>
                </a:lnTo>
                <a:lnTo>
                  <a:pt x="787" y="398"/>
                </a:lnTo>
                <a:lnTo>
                  <a:pt x="778" y="362"/>
                </a:lnTo>
                <a:lnTo>
                  <a:pt x="769" y="358"/>
                </a:lnTo>
                <a:lnTo>
                  <a:pt x="778" y="335"/>
                </a:lnTo>
                <a:lnTo>
                  <a:pt x="796" y="318"/>
                </a:lnTo>
                <a:lnTo>
                  <a:pt x="796" y="286"/>
                </a:lnTo>
                <a:lnTo>
                  <a:pt x="800" y="282"/>
                </a:lnTo>
                <a:lnTo>
                  <a:pt x="809" y="309"/>
                </a:lnTo>
                <a:lnTo>
                  <a:pt x="805" y="358"/>
                </a:lnTo>
                <a:lnTo>
                  <a:pt x="836" y="367"/>
                </a:lnTo>
                <a:lnTo>
                  <a:pt x="840" y="380"/>
                </a:lnTo>
                <a:lnTo>
                  <a:pt x="849" y="376"/>
                </a:lnTo>
                <a:lnTo>
                  <a:pt x="836" y="358"/>
                </a:lnTo>
                <a:lnTo>
                  <a:pt x="813" y="344"/>
                </a:lnTo>
                <a:lnTo>
                  <a:pt x="818" y="327"/>
                </a:lnTo>
                <a:lnTo>
                  <a:pt x="836" y="335"/>
                </a:lnTo>
                <a:lnTo>
                  <a:pt x="845" y="322"/>
                </a:lnTo>
                <a:lnTo>
                  <a:pt x="831" y="322"/>
                </a:lnTo>
                <a:lnTo>
                  <a:pt x="831" y="313"/>
                </a:lnTo>
                <a:lnTo>
                  <a:pt x="845" y="304"/>
                </a:lnTo>
                <a:lnTo>
                  <a:pt x="863" y="309"/>
                </a:lnTo>
                <a:lnTo>
                  <a:pt x="867" y="318"/>
                </a:lnTo>
                <a:lnTo>
                  <a:pt x="880" y="318"/>
                </a:lnTo>
                <a:lnTo>
                  <a:pt x="894" y="340"/>
                </a:lnTo>
                <a:lnTo>
                  <a:pt x="912" y="335"/>
                </a:lnTo>
                <a:lnTo>
                  <a:pt x="912" y="353"/>
                </a:lnTo>
                <a:lnTo>
                  <a:pt x="903" y="362"/>
                </a:lnTo>
                <a:lnTo>
                  <a:pt x="898" y="389"/>
                </a:lnTo>
                <a:lnTo>
                  <a:pt x="921" y="389"/>
                </a:lnTo>
                <a:lnTo>
                  <a:pt x="916" y="367"/>
                </a:lnTo>
                <a:lnTo>
                  <a:pt x="925" y="335"/>
                </a:lnTo>
                <a:lnTo>
                  <a:pt x="912" y="327"/>
                </a:lnTo>
                <a:lnTo>
                  <a:pt x="880" y="291"/>
                </a:lnTo>
                <a:lnTo>
                  <a:pt x="880" y="242"/>
                </a:lnTo>
                <a:lnTo>
                  <a:pt x="965" y="233"/>
                </a:lnTo>
                <a:lnTo>
                  <a:pt x="961" y="215"/>
                </a:lnTo>
                <a:lnTo>
                  <a:pt x="952" y="215"/>
                </a:lnTo>
                <a:lnTo>
                  <a:pt x="947" y="192"/>
                </a:lnTo>
                <a:lnTo>
                  <a:pt x="965" y="170"/>
                </a:lnTo>
                <a:lnTo>
                  <a:pt x="983" y="175"/>
                </a:lnTo>
                <a:lnTo>
                  <a:pt x="1001" y="157"/>
                </a:lnTo>
                <a:lnTo>
                  <a:pt x="1055" y="130"/>
                </a:lnTo>
                <a:lnTo>
                  <a:pt x="1050" y="117"/>
                </a:lnTo>
                <a:lnTo>
                  <a:pt x="1090" y="85"/>
                </a:lnTo>
                <a:lnTo>
                  <a:pt x="1113" y="90"/>
                </a:lnTo>
                <a:lnTo>
                  <a:pt x="1090" y="117"/>
                </a:lnTo>
                <a:lnTo>
                  <a:pt x="1108" y="117"/>
                </a:lnTo>
                <a:lnTo>
                  <a:pt x="1135" y="94"/>
                </a:lnTo>
                <a:lnTo>
                  <a:pt x="1144" y="94"/>
                </a:lnTo>
                <a:lnTo>
                  <a:pt x="1135" y="81"/>
                </a:lnTo>
                <a:lnTo>
                  <a:pt x="1166" y="76"/>
                </a:lnTo>
                <a:lnTo>
                  <a:pt x="1175" y="41"/>
                </a:lnTo>
                <a:lnTo>
                  <a:pt x="1198" y="14"/>
                </a:lnTo>
                <a:lnTo>
                  <a:pt x="1224" y="0"/>
                </a:lnTo>
                <a:lnTo>
                  <a:pt x="1247" y="18"/>
                </a:lnTo>
                <a:lnTo>
                  <a:pt x="1229" y="41"/>
                </a:lnTo>
                <a:lnTo>
                  <a:pt x="1256" y="54"/>
                </a:lnTo>
                <a:lnTo>
                  <a:pt x="1242" y="81"/>
                </a:lnTo>
                <a:lnTo>
                  <a:pt x="1260" y="81"/>
                </a:lnTo>
                <a:lnTo>
                  <a:pt x="1274" y="63"/>
                </a:lnTo>
                <a:lnTo>
                  <a:pt x="1323" y="58"/>
                </a:lnTo>
                <a:lnTo>
                  <a:pt x="1345" y="76"/>
                </a:lnTo>
                <a:lnTo>
                  <a:pt x="1349" y="94"/>
                </a:lnTo>
                <a:lnTo>
                  <a:pt x="1345" y="166"/>
                </a:lnTo>
                <a:lnTo>
                  <a:pt x="1332" y="184"/>
                </a:lnTo>
                <a:lnTo>
                  <a:pt x="1287" y="224"/>
                </a:lnTo>
                <a:lnTo>
                  <a:pt x="1269" y="255"/>
                </a:lnTo>
                <a:lnTo>
                  <a:pt x="1251" y="268"/>
                </a:lnTo>
                <a:lnTo>
                  <a:pt x="1251" y="273"/>
                </a:lnTo>
                <a:lnTo>
                  <a:pt x="1287" y="260"/>
                </a:lnTo>
                <a:lnTo>
                  <a:pt x="1300" y="233"/>
                </a:lnTo>
                <a:lnTo>
                  <a:pt x="1314" y="228"/>
                </a:lnTo>
                <a:lnTo>
                  <a:pt x="1314" y="242"/>
                </a:lnTo>
                <a:lnTo>
                  <a:pt x="1336" y="246"/>
                </a:lnTo>
                <a:lnTo>
                  <a:pt x="1341" y="233"/>
                </a:lnTo>
                <a:lnTo>
                  <a:pt x="1349" y="255"/>
                </a:lnTo>
                <a:lnTo>
                  <a:pt x="1372" y="242"/>
                </a:lnTo>
                <a:lnTo>
                  <a:pt x="1421" y="251"/>
                </a:lnTo>
                <a:lnTo>
                  <a:pt x="1416" y="273"/>
                </a:lnTo>
                <a:lnTo>
                  <a:pt x="1466" y="282"/>
                </a:lnTo>
                <a:lnTo>
                  <a:pt x="1479" y="286"/>
                </a:lnTo>
                <a:lnTo>
                  <a:pt x="1488" y="268"/>
                </a:lnTo>
                <a:lnTo>
                  <a:pt x="1475" y="255"/>
                </a:lnTo>
                <a:lnTo>
                  <a:pt x="1497" y="237"/>
                </a:lnTo>
                <a:lnTo>
                  <a:pt x="1528" y="255"/>
                </a:lnTo>
                <a:lnTo>
                  <a:pt x="1573" y="277"/>
                </a:lnTo>
                <a:lnTo>
                  <a:pt x="1564" y="335"/>
                </a:lnTo>
                <a:lnTo>
                  <a:pt x="1573" y="335"/>
                </a:lnTo>
                <a:lnTo>
                  <a:pt x="1577" y="344"/>
                </a:lnTo>
                <a:lnTo>
                  <a:pt x="1573" y="349"/>
                </a:lnTo>
                <a:lnTo>
                  <a:pt x="1582" y="371"/>
                </a:lnTo>
                <a:lnTo>
                  <a:pt x="1595" y="380"/>
                </a:lnTo>
                <a:lnTo>
                  <a:pt x="1600" y="394"/>
                </a:lnTo>
                <a:lnTo>
                  <a:pt x="1613" y="367"/>
                </a:lnTo>
                <a:lnTo>
                  <a:pt x="1617" y="331"/>
                </a:lnTo>
                <a:lnTo>
                  <a:pt x="1626" y="331"/>
                </a:lnTo>
                <a:lnTo>
                  <a:pt x="1635" y="358"/>
                </a:lnTo>
                <a:lnTo>
                  <a:pt x="1653" y="353"/>
                </a:lnTo>
                <a:lnTo>
                  <a:pt x="1662" y="344"/>
                </a:lnTo>
                <a:lnTo>
                  <a:pt x="1725" y="353"/>
                </a:lnTo>
                <a:lnTo>
                  <a:pt x="1720" y="331"/>
                </a:lnTo>
                <a:lnTo>
                  <a:pt x="1725" y="318"/>
                </a:lnTo>
                <a:lnTo>
                  <a:pt x="1711" y="318"/>
                </a:lnTo>
                <a:lnTo>
                  <a:pt x="1716" y="304"/>
                </a:lnTo>
                <a:lnTo>
                  <a:pt x="1734" y="304"/>
                </a:lnTo>
                <a:lnTo>
                  <a:pt x="1734" y="286"/>
                </a:lnTo>
                <a:lnTo>
                  <a:pt x="1823" y="309"/>
                </a:lnTo>
                <a:lnTo>
                  <a:pt x="1787" y="304"/>
                </a:lnTo>
                <a:lnTo>
                  <a:pt x="1783" y="322"/>
                </a:lnTo>
                <a:lnTo>
                  <a:pt x="1823" y="313"/>
                </a:lnTo>
                <a:lnTo>
                  <a:pt x="1796" y="344"/>
                </a:lnTo>
                <a:lnTo>
                  <a:pt x="1814" y="335"/>
                </a:lnTo>
                <a:lnTo>
                  <a:pt x="1832" y="313"/>
                </a:lnTo>
                <a:lnTo>
                  <a:pt x="1859" y="313"/>
                </a:lnTo>
                <a:lnTo>
                  <a:pt x="1868" y="331"/>
                </a:lnTo>
                <a:lnTo>
                  <a:pt x="1854" y="340"/>
                </a:lnTo>
                <a:lnTo>
                  <a:pt x="1868" y="349"/>
                </a:lnTo>
                <a:lnTo>
                  <a:pt x="1903" y="380"/>
                </a:lnTo>
                <a:lnTo>
                  <a:pt x="1975" y="376"/>
                </a:lnTo>
                <a:lnTo>
                  <a:pt x="1997" y="380"/>
                </a:lnTo>
                <a:lnTo>
                  <a:pt x="2011" y="411"/>
                </a:lnTo>
                <a:lnTo>
                  <a:pt x="2011" y="438"/>
                </a:lnTo>
                <a:lnTo>
                  <a:pt x="2037" y="443"/>
                </a:lnTo>
                <a:lnTo>
                  <a:pt x="2073" y="438"/>
                </a:lnTo>
                <a:lnTo>
                  <a:pt x="2078" y="447"/>
                </a:lnTo>
                <a:lnTo>
                  <a:pt x="2091" y="443"/>
                </a:lnTo>
                <a:lnTo>
                  <a:pt x="2104" y="447"/>
                </a:lnTo>
                <a:lnTo>
                  <a:pt x="2122" y="434"/>
                </a:lnTo>
                <a:lnTo>
                  <a:pt x="2122" y="420"/>
                </a:lnTo>
                <a:lnTo>
                  <a:pt x="2140" y="429"/>
                </a:lnTo>
                <a:lnTo>
                  <a:pt x="2127" y="443"/>
                </a:lnTo>
                <a:lnTo>
                  <a:pt x="2140" y="478"/>
                </a:lnTo>
                <a:lnTo>
                  <a:pt x="2167" y="470"/>
                </a:lnTo>
                <a:lnTo>
                  <a:pt x="2167" y="443"/>
                </a:lnTo>
                <a:lnTo>
                  <a:pt x="2158" y="438"/>
                </a:lnTo>
                <a:lnTo>
                  <a:pt x="2158" y="420"/>
                </a:lnTo>
                <a:lnTo>
                  <a:pt x="2203" y="429"/>
                </a:lnTo>
                <a:lnTo>
                  <a:pt x="2243" y="434"/>
                </a:lnTo>
                <a:lnTo>
                  <a:pt x="2283" y="452"/>
                </a:lnTo>
                <a:lnTo>
                  <a:pt x="2368" y="519"/>
                </a:lnTo>
                <a:lnTo>
                  <a:pt x="2377" y="537"/>
                </a:lnTo>
                <a:lnTo>
                  <a:pt x="2372" y="554"/>
                </a:lnTo>
                <a:lnTo>
                  <a:pt x="2386" y="559"/>
                </a:lnTo>
                <a:lnTo>
                  <a:pt x="2381" y="537"/>
                </a:lnTo>
                <a:lnTo>
                  <a:pt x="2422" y="541"/>
                </a:lnTo>
                <a:lnTo>
                  <a:pt x="2448" y="577"/>
                </a:lnTo>
                <a:lnTo>
                  <a:pt x="2435" y="595"/>
                </a:lnTo>
                <a:lnTo>
                  <a:pt x="2417" y="595"/>
                </a:lnTo>
                <a:lnTo>
                  <a:pt x="2417" y="617"/>
                </a:lnTo>
                <a:lnTo>
                  <a:pt x="2404" y="639"/>
                </a:lnTo>
                <a:lnTo>
                  <a:pt x="2377" y="626"/>
                </a:lnTo>
                <a:lnTo>
                  <a:pt x="2363" y="626"/>
                </a:lnTo>
                <a:lnTo>
                  <a:pt x="2359" y="604"/>
                </a:lnTo>
                <a:lnTo>
                  <a:pt x="2346" y="599"/>
                </a:lnTo>
                <a:lnTo>
                  <a:pt x="2319" y="599"/>
                </a:lnTo>
                <a:lnTo>
                  <a:pt x="2319" y="577"/>
                </a:lnTo>
                <a:lnTo>
                  <a:pt x="2305" y="581"/>
                </a:lnTo>
                <a:lnTo>
                  <a:pt x="2310" y="595"/>
                </a:lnTo>
                <a:lnTo>
                  <a:pt x="2305" y="608"/>
                </a:lnTo>
                <a:lnTo>
                  <a:pt x="2279" y="635"/>
                </a:lnTo>
                <a:lnTo>
                  <a:pt x="2256" y="621"/>
                </a:lnTo>
                <a:lnTo>
                  <a:pt x="2256" y="626"/>
                </a:lnTo>
                <a:lnTo>
                  <a:pt x="2274" y="644"/>
                </a:lnTo>
                <a:lnTo>
                  <a:pt x="2279" y="671"/>
                </a:lnTo>
                <a:lnTo>
                  <a:pt x="2292" y="684"/>
                </a:lnTo>
                <a:lnTo>
                  <a:pt x="2283" y="702"/>
                </a:lnTo>
                <a:lnTo>
                  <a:pt x="2261" y="693"/>
                </a:lnTo>
                <a:lnTo>
                  <a:pt x="2238" y="702"/>
                </a:lnTo>
                <a:lnTo>
                  <a:pt x="2207" y="724"/>
                </a:lnTo>
                <a:lnTo>
                  <a:pt x="2180" y="742"/>
                </a:lnTo>
                <a:lnTo>
                  <a:pt x="2162" y="782"/>
                </a:lnTo>
                <a:lnTo>
                  <a:pt x="2145" y="760"/>
                </a:lnTo>
                <a:lnTo>
                  <a:pt x="2127" y="760"/>
                </a:lnTo>
                <a:lnTo>
                  <a:pt x="2095" y="782"/>
                </a:lnTo>
                <a:lnTo>
                  <a:pt x="2095" y="760"/>
                </a:lnTo>
                <a:lnTo>
                  <a:pt x="2082" y="787"/>
                </a:lnTo>
                <a:lnTo>
                  <a:pt x="2064" y="778"/>
                </a:lnTo>
                <a:lnTo>
                  <a:pt x="2037" y="832"/>
                </a:lnTo>
                <a:lnTo>
                  <a:pt x="2055" y="836"/>
                </a:lnTo>
                <a:lnTo>
                  <a:pt x="2046" y="863"/>
                </a:lnTo>
                <a:lnTo>
                  <a:pt x="2055" y="876"/>
                </a:lnTo>
                <a:lnTo>
                  <a:pt x="2046" y="885"/>
                </a:lnTo>
                <a:lnTo>
                  <a:pt x="2033" y="881"/>
                </a:lnTo>
                <a:lnTo>
                  <a:pt x="2028" y="907"/>
                </a:lnTo>
                <a:lnTo>
                  <a:pt x="2037" y="912"/>
                </a:lnTo>
                <a:lnTo>
                  <a:pt x="2033" y="925"/>
                </a:lnTo>
                <a:lnTo>
                  <a:pt x="2024" y="916"/>
                </a:lnTo>
                <a:lnTo>
                  <a:pt x="2011" y="930"/>
                </a:lnTo>
                <a:lnTo>
                  <a:pt x="2006" y="948"/>
                </a:lnTo>
                <a:lnTo>
                  <a:pt x="2015" y="952"/>
                </a:lnTo>
                <a:lnTo>
                  <a:pt x="2011" y="957"/>
                </a:lnTo>
                <a:lnTo>
                  <a:pt x="2006" y="952"/>
                </a:lnTo>
                <a:lnTo>
                  <a:pt x="1988" y="961"/>
                </a:lnTo>
                <a:lnTo>
                  <a:pt x="1988" y="975"/>
                </a:lnTo>
                <a:lnTo>
                  <a:pt x="1961" y="1015"/>
                </a:lnTo>
                <a:lnTo>
                  <a:pt x="1953" y="961"/>
                </a:lnTo>
                <a:lnTo>
                  <a:pt x="1944" y="903"/>
                </a:lnTo>
                <a:lnTo>
                  <a:pt x="1944" y="881"/>
                </a:lnTo>
                <a:lnTo>
                  <a:pt x="1953" y="854"/>
                </a:lnTo>
                <a:lnTo>
                  <a:pt x="1966" y="845"/>
                </a:lnTo>
                <a:lnTo>
                  <a:pt x="1961" y="836"/>
                </a:lnTo>
                <a:lnTo>
                  <a:pt x="1984" y="827"/>
                </a:lnTo>
                <a:lnTo>
                  <a:pt x="2060" y="747"/>
                </a:lnTo>
                <a:lnTo>
                  <a:pt x="2069" y="706"/>
                </a:lnTo>
                <a:lnTo>
                  <a:pt x="2082" y="693"/>
                </a:lnTo>
                <a:lnTo>
                  <a:pt x="2073" y="689"/>
                </a:lnTo>
                <a:lnTo>
                  <a:pt x="2055" y="697"/>
                </a:lnTo>
                <a:lnTo>
                  <a:pt x="2055" y="724"/>
                </a:lnTo>
                <a:lnTo>
                  <a:pt x="2042" y="724"/>
                </a:lnTo>
                <a:lnTo>
                  <a:pt x="2011" y="760"/>
                </a:lnTo>
                <a:lnTo>
                  <a:pt x="2006" y="742"/>
                </a:lnTo>
                <a:lnTo>
                  <a:pt x="2020" y="715"/>
                </a:lnTo>
                <a:lnTo>
                  <a:pt x="2006" y="724"/>
                </a:lnTo>
                <a:lnTo>
                  <a:pt x="1997" y="715"/>
                </a:lnTo>
                <a:lnTo>
                  <a:pt x="1961" y="729"/>
                </a:lnTo>
                <a:lnTo>
                  <a:pt x="1961" y="738"/>
                </a:lnTo>
                <a:lnTo>
                  <a:pt x="1935" y="764"/>
                </a:lnTo>
                <a:lnTo>
                  <a:pt x="1926" y="791"/>
                </a:lnTo>
                <a:lnTo>
                  <a:pt x="1939" y="791"/>
                </a:lnTo>
                <a:lnTo>
                  <a:pt x="1944" y="800"/>
                </a:lnTo>
                <a:lnTo>
                  <a:pt x="1886" y="809"/>
                </a:lnTo>
                <a:lnTo>
                  <a:pt x="1881" y="800"/>
                </a:lnTo>
                <a:lnTo>
                  <a:pt x="1899" y="796"/>
                </a:lnTo>
                <a:lnTo>
                  <a:pt x="1886" y="787"/>
                </a:lnTo>
                <a:lnTo>
                  <a:pt x="1854" y="782"/>
                </a:lnTo>
                <a:lnTo>
                  <a:pt x="1850" y="796"/>
                </a:lnTo>
                <a:lnTo>
                  <a:pt x="1760" y="796"/>
                </a:lnTo>
                <a:lnTo>
                  <a:pt x="1747" y="814"/>
                </a:lnTo>
                <a:lnTo>
                  <a:pt x="1734" y="814"/>
                </a:lnTo>
                <a:lnTo>
                  <a:pt x="1662" y="912"/>
                </a:lnTo>
                <a:lnTo>
                  <a:pt x="1671" y="916"/>
                </a:lnTo>
                <a:lnTo>
                  <a:pt x="1680" y="907"/>
                </a:lnTo>
                <a:lnTo>
                  <a:pt x="1698" y="907"/>
                </a:lnTo>
                <a:lnTo>
                  <a:pt x="1689" y="930"/>
                </a:lnTo>
                <a:lnTo>
                  <a:pt x="1689" y="939"/>
                </a:lnTo>
                <a:lnTo>
                  <a:pt x="1707" y="921"/>
                </a:lnTo>
                <a:lnTo>
                  <a:pt x="1720" y="925"/>
                </a:lnTo>
                <a:lnTo>
                  <a:pt x="1743" y="948"/>
                </a:lnTo>
                <a:lnTo>
                  <a:pt x="1743" y="983"/>
                </a:lnTo>
                <a:lnTo>
                  <a:pt x="1734" y="1001"/>
                </a:lnTo>
                <a:lnTo>
                  <a:pt x="1729" y="1064"/>
                </a:lnTo>
                <a:lnTo>
                  <a:pt x="1716" y="1091"/>
                </a:lnTo>
                <a:lnTo>
                  <a:pt x="1711" y="1091"/>
                </a:lnTo>
                <a:lnTo>
                  <a:pt x="1662" y="1158"/>
                </a:lnTo>
                <a:lnTo>
                  <a:pt x="1644" y="1176"/>
                </a:lnTo>
                <a:lnTo>
                  <a:pt x="1626" y="1180"/>
                </a:lnTo>
                <a:lnTo>
                  <a:pt x="1613" y="1180"/>
                </a:lnTo>
                <a:lnTo>
                  <a:pt x="1613" y="1171"/>
                </a:lnTo>
                <a:lnTo>
                  <a:pt x="1604" y="1180"/>
                </a:lnTo>
                <a:lnTo>
                  <a:pt x="1600" y="1180"/>
                </a:lnTo>
                <a:lnTo>
                  <a:pt x="1591" y="1185"/>
                </a:lnTo>
                <a:lnTo>
                  <a:pt x="1586" y="1176"/>
                </a:lnTo>
                <a:lnTo>
                  <a:pt x="1595" y="1167"/>
                </a:lnTo>
                <a:lnTo>
                  <a:pt x="1600" y="1162"/>
                </a:lnTo>
                <a:lnTo>
                  <a:pt x="1595" y="1140"/>
                </a:lnTo>
                <a:lnTo>
                  <a:pt x="1604" y="1131"/>
                </a:lnTo>
                <a:lnTo>
                  <a:pt x="1622" y="1131"/>
                </a:lnTo>
                <a:lnTo>
                  <a:pt x="1653" y="1082"/>
                </a:lnTo>
                <a:lnTo>
                  <a:pt x="1649" y="1068"/>
                </a:lnTo>
                <a:lnTo>
                  <a:pt x="1640" y="1064"/>
                </a:lnTo>
                <a:lnTo>
                  <a:pt x="1617" y="1082"/>
                </a:lnTo>
                <a:lnTo>
                  <a:pt x="1595" y="1073"/>
                </a:lnTo>
                <a:lnTo>
                  <a:pt x="1591" y="1055"/>
                </a:lnTo>
                <a:lnTo>
                  <a:pt x="1573" y="1042"/>
                </a:lnTo>
                <a:lnTo>
                  <a:pt x="1564" y="1042"/>
                </a:lnTo>
                <a:lnTo>
                  <a:pt x="1559" y="1037"/>
                </a:lnTo>
                <a:lnTo>
                  <a:pt x="1546" y="1037"/>
                </a:lnTo>
                <a:lnTo>
                  <a:pt x="1542" y="1015"/>
                </a:lnTo>
                <a:lnTo>
                  <a:pt x="1519" y="957"/>
                </a:lnTo>
                <a:lnTo>
                  <a:pt x="1492" y="943"/>
                </a:lnTo>
                <a:lnTo>
                  <a:pt x="1479" y="939"/>
                </a:lnTo>
                <a:lnTo>
                  <a:pt x="1452" y="943"/>
                </a:lnTo>
                <a:lnTo>
                  <a:pt x="1439" y="961"/>
                </a:lnTo>
                <a:lnTo>
                  <a:pt x="1439" y="966"/>
                </a:lnTo>
                <a:lnTo>
                  <a:pt x="1448" y="966"/>
                </a:lnTo>
                <a:lnTo>
                  <a:pt x="1448" y="979"/>
                </a:lnTo>
                <a:lnTo>
                  <a:pt x="1421" y="1015"/>
                </a:lnTo>
                <a:lnTo>
                  <a:pt x="1430" y="1024"/>
                </a:lnTo>
                <a:lnTo>
                  <a:pt x="1416" y="1028"/>
                </a:lnTo>
                <a:lnTo>
                  <a:pt x="1403" y="1042"/>
                </a:lnTo>
                <a:lnTo>
                  <a:pt x="1390" y="1033"/>
                </a:lnTo>
                <a:lnTo>
                  <a:pt x="1385" y="1028"/>
                </a:lnTo>
                <a:lnTo>
                  <a:pt x="1376" y="1028"/>
                </a:lnTo>
                <a:lnTo>
                  <a:pt x="1358" y="1019"/>
                </a:lnTo>
                <a:lnTo>
                  <a:pt x="1349" y="1024"/>
                </a:lnTo>
                <a:lnTo>
                  <a:pt x="1336" y="1037"/>
                </a:lnTo>
                <a:lnTo>
                  <a:pt x="1305" y="1046"/>
                </a:lnTo>
                <a:lnTo>
                  <a:pt x="1274" y="1042"/>
                </a:lnTo>
                <a:lnTo>
                  <a:pt x="1233" y="1019"/>
                </a:lnTo>
                <a:lnTo>
                  <a:pt x="1211" y="1024"/>
                </a:lnTo>
                <a:lnTo>
                  <a:pt x="1189" y="1019"/>
                </a:lnTo>
                <a:lnTo>
                  <a:pt x="1184" y="992"/>
                </a:lnTo>
                <a:lnTo>
                  <a:pt x="1140" y="979"/>
                </a:lnTo>
                <a:lnTo>
                  <a:pt x="1126" y="1001"/>
                </a:lnTo>
                <a:lnTo>
                  <a:pt x="1131" y="1010"/>
                </a:lnTo>
                <a:lnTo>
                  <a:pt x="1126" y="1033"/>
                </a:lnTo>
                <a:lnTo>
                  <a:pt x="1086" y="1033"/>
                </a:lnTo>
                <a:lnTo>
                  <a:pt x="1068" y="1015"/>
                </a:lnTo>
                <a:lnTo>
                  <a:pt x="1055" y="1015"/>
                </a:lnTo>
                <a:lnTo>
                  <a:pt x="1050" y="1010"/>
                </a:lnTo>
                <a:lnTo>
                  <a:pt x="1023" y="1019"/>
                </a:lnTo>
                <a:lnTo>
                  <a:pt x="997" y="1037"/>
                </a:lnTo>
                <a:lnTo>
                  <a:pt x="988" y="1037"/>
                </a:lnTo>
                <a:lnTo>
                  <a:pt x="983" y="1046"/>
                </a:lnTo>
                <a:lnTo>
                  <a:pt x="974" y="1046"/>
                </a:lnTo>
                <a:lnTo>
                  <a:pt x="974" y="1042"/>
                </a:lnTo>
                <a:lnTo>
                  <a:pt x="952" y="1037"/>
                </a:lnTo>
                <a:lnTo>
                  <a:pt x="943" y="1037"/>
                </a:lnTo>
                <a:lnTo>
                  <a:pt x="939" y="1024"/>
                </a:lnTo>
                <a:lnTo>
                  <a:pt x="934" y="1028"/>
                </a:lnTo>
                <a:lnTo>
                  <a:pt x="921" y="1010"/>
                </a:lnTo>
                <a:lnTo>
                  <a:pt x="912" y="1006"/>
                </a:lnTo>
                <a:lnTo>
                  <a:pt x="907" y="1006"/>
                </a:lnTo>
                <a:lnTo>
                  <a:pt x="903" y="1010"/>
                </a:lnTo>
                <a:lnTo>
                  <a:pt x="898" y="1015"/>
                </a:lnTo>
                <a:lnTo>
                  <a:pt x="889" y="1010"/>
                </a:lnTo>
                <a:lnTo>
                  <a:pt x="889" y="1001"/>
                </a:lnTo>
                <a:lnTo>
                  <a:pt x="880" y="1001"/>
                </a:lnTo>
                <a:lnTo>
                  <a:pt x="876" y="1006"/>
                </a:lnTo>
                <a:lnTo>
                  <a:pt x="872" y="1010"/>
                </a:lnTo>
                <a:lnTo>
                  <a:pt x="840" y="957"/>
                </a:lnTo>
                <a:lnTo>
                  <a:pt x="822" y="934"/>
                </a:lnTo>
                <a:lnTo>
                  <a:pt x="827" y="925"/>
                </a:lnTo>
                <a:lnTo>
                  <a:pt x="822" y="921"/>
                </a:lnTo>
                <a:lnTo>
                  <a:pt x="813" y="925"/>
                </a:lnTo>
                <a:lnTo>
                  <a:pt x="805" y="930"/>
                </a:lnTo>
                <a:lnTo>
                  <a:pt x="800" y="934"/>
                </a:lnTo>
                <a:lnTo>
                  <a:pt x="791" y="943"/>
                </a:lnTo>
                <a:lnTo>
                  <a:pt x="782" y="939"/>
                </a:lnTo>
                <a:lnTo>
                  <a:pt x="773" y="943"/>
                </a:lnTo>
                <a:lnTo>
                  <a:pt x="773" y="939"/>
                </a:lnTo>
                <a:lnTo>
                  <a:pt x="778" y="934"/>
                </a:lnTo>
                <a:lnTo>
                  <a:pt x="764" y="930"/>
                </a:lnTo>
                <a:lnTo>
                  <a:pt x="760" y="934"/>
                </a:lnTo>
                <a:lnTo>
                  <a:pt x="760" y="925"/>
                </a:lnTo>
                <a:lnTo>
                  <a:pt x="746" y="930"/>
                </a:lnTo>
                <a:lnTo>
                  <a:pt x="742" y="925"/>
                </a:lnTo>
                <a:lnTo>
                  <a:pt x="742" y="916"/>
                </a:lnTo>
                <a:lnTo>
                  <a:pt x="738" y="903"/>
                </a:lnTo>
                <a:lnTo>
                  <a:pt x="729" y="903"/>
                </a:lnTo>
                <a:lnTo>
                  <a:pt x="711" y="899"/>
                </a:lnTo>
                <a:lnTo>
                  <a:pt x="706" y="903"/>
                </a:lnTo>
                <a:lnTo>
                  <a:pt x="702" y="894"/>
                </a:lnTo>
                <a:lnTo>
                  <a:pt x="697" y="912"/>
                </a:lnTo>
                <a:lnTo>
                  <a:pt x="693" y="907"/>
                </a:lnTo>
                <a:lnTo>
                  <a:pt x="688" y="912"/>
                </a:lnTo>
                <a:lnTo>
                  <a:pt x="666" y="916"/>
                </a:lnTo>
                <a:lnTo>
                  <a:pt x="657" y="916"/>
                </a:lnTo>
                <a:lnTo>
                  <a:pt x="653" y="921"/>
                </a:lnTo>
                <a:lnTo>
                  <a:pt x="653" y="916"/>
                </a:lnTo>
                <a:lnTo>
                  <a:pt x="635" y="925"/>
                </a:lnTo>
                <a:lnTo>
                  <a:pt x="626" y="930"/>
                </a:lnTo>
                <a:lnTo>
                  <a:pt x="604" y="930"/>
                </a:lnTo>
                <a:lnTo>
                  <a:pt x="599" y="934"/>
                </a:lnTo>
                <a:lnTo>
                  <a:pt x="595" y="943"/>
                </a:lnTo>
                <a:lnTo>
                  <a:pt x="608" y="943"/>
                </a:lnTo>
                <a:lnTo>
                  <a:pt x="599" y="948"/>
                </a:lnTo>
                <a:lnTo>
                  <a:pt x="608" y="948"/>
                </a:lnTo>
                <a:lnTo>
                  <a:pt x="612" y="957"/>
                </a:lnTo>
                <a:lnTo>
                  <a:pt x="599" y="957"/>
                </a:lnTo>
                <a:lnTo>
                  <a:pt x="590" y="961"/>
                </a:lnTo>
                <a:lnTo>
                  <a:pt x="595" y="970"/>
                </a:lnTo>
                <a:lnTo>
                  <a:pt x="581" y="979"/>
                </a:lnTo>
                <a:lnTo>
                  <a:pt x="590" y="988"/>
                </a:lnTo>
                <a:lnTo>
                  <a:pt x="595" y="997"/>
                </a:lnTo>
                <a:lnTo>
                  <a:pt x="604" y="997"/>
                </a:lnTo>
                <a:lnTo>
                  <a:pt x="604" y="1006"/>
                </a:lnTo>
                <a:lnTo>
                  <a:pt x="604" y="1010"/>
                </a:lnTo>
                <a:lnTo>
                  <a:pt x="590" y="1015"/>
                </a:lnTo>
                <a:lnTo>
                  <a:pt x="581" y="1006"/>
                </a:lnTo>
                <a:lnTo>
                  <a:pt x="572" y="1019"/>
                </a:lnTo>
                <a:lnTo>
                  <a:pt x="572" y="1010"/>
                </a:lnTo>
                <a:lnTo>
                  <a:pt x="568" y="1006"/>
                </a:lnTo>
                <a:lnTo>
                  <a:pt x="563" y="1001"/>
                </a:lnTo>
                <a:lnTo>
                  <a:pt x="554" y="1001"/>
                </a:lnTo>
                <a:lnTo>
                  <a:pt x="545" y="1006"/>
                </a:lnTo>
                <a:lnTo>
                  <a:pt x="541" y="1001"/>
                </a:lnTo>
                <a:lnTo>
                  <a:pt x="532" y="1001"/>
                </a:lnTo>
                <a:lnTo>
                  <a:pt x="528" y="1010"/>
                </a:lnTo>
                <a:lnTo>
                  <a:pt x="523" y="1015"/>
                </a:lnTo>
                <a:lnTo>
                  <a:pt x="514" y="1010"/>
                </a:lnTo>
                <a:lnTo>
                  <a:pt x="510" y="1010"/>
                </a:lnTo>
                <a:lnTo>
                  <a:pt x="510" y="1015"/>
                </a:lnTo>
                <a:lnTo>
                  <a:pt x="505" y="1015"/>
                </a:lnTo>
                <a:lnTo>
                  <a:pt x="501" y="1010"/>
                </a:lnTo>
                <a:lnTo>
                  <a:pt x="496" y="997"/>
                </a:lnTo>
                <a:lnTo>
                  <a:pt x="483" y="992"/>
                </a:lnTo>
                <a:lnTo>
                  <a:pt x="478" y="997"/>
                </a:lnTo>
                <a:lnTo>
                  <a:pt x="474" y="988"/>
                </a:lnTo>
                <a:lnTo>
                  <a:pt x="465" y="992"/>
                </a:lnTo>
                <a:lnTo>
                  <a:pt x="461" y="997"/>
                </a:lnTo>
                <a:lnTo>
                  <a:pt x="461" y="992"/>
                </a:lnTo>
                <a:lnTo>
                  <a:pt x="456" y="988"/>
                </a:lnTo>
                <a:lnTo>
                  <a:pt x="452" y="997"/>
                </a:lnTo>
                <a:lnTo>
                  <a:pt x="434" y="1010"/>
                </a:lnTo>
                <a:lnTo>
                  <a:pt x="425" y="1015"/>
                </a:lnTo>
                <a:lnTo>
                  <a:pt x="420" y="1010"/>
                </a:lnTo>
                <a:lnTo>
                  <a:pt x="425" y="1028"/>
                </a:lnTo>
                <a:lnTo>
                  <a:pt x="420" y="1033"/>
                </a:lnTo>
                <a:lnTo>
                  <a:pt x="407" y="1019"/>
                </a:lnTo>
                <a:lnTo>
                  <a:pt x="402" y="1019"/>
                </a:lnTo>
                <a:lnTo>
                  <a:pt x="402" y="1033"/>
                </a:lnTo>
                <a:lnTo>
                  <a:pt x="398" y="1033"/>
                </a:lnTo>
                <a:lnTo>
                  <a:pt x="394" y="1046"/>
                </a:lnTo>
                <a:lnTo>
                  <a:pt x="394" y="1050"/>
                </a:lnTo>
                <a:lnTo>
                  <a:pt x="389" y="1064"/>
                </a:lnTo>
                <a:lnTo>
                  <a:pt x="398" y="1068"/>
                </a:lnTo>
                <a:lnTo>
                  <a:pt x="398" y="1073"/>
                </a:lnTo>
                <a:lnTo>
                  <a:pt x="402" y="1082"/>
                </a:lnTo>
                <a:lnTo>
                  <a:pt x="402" y="1073"/>
                </a:lnTo>
                <a:lnTo>
                  <a:pt x="411" y="1077"/>
                </a:lnTo>
                <a:lnTo>
                  <a:pt x="420" y="1091"/>
                </a:lnTo>
                <a:lnTo>
                  <a:pt x="425" y="1095"/>
                </a:lnTo>
                <a:lnTo>
                  <a:pt x="420" y="1095"/>
                </a:lnTo>
                <a:lnTo>
                  <a:pt x="416" y="1100"/>
                </a:lnTo>
                <a:lnTo>
                  <a:pt x="425" y="1100"/>
                </a:lnTo>
                <a:lnTo>
                  <a:pt x="425" y="1104"/>
                </a:lnTo>
                <a:lnTo>
                  <a:pt x="416" y="1118"/>
                </a:lnTo>
                <a:lnTo>
                  <a:pt x="402" y="1118"/>
                </a:lnTo>
                <a:lnTo>
                  <a:pt x="394" y="1144"/>
                </a:lnTo>
                <a:lnTo>
                  <a:pt x="398" y="1144"/>
                </a:lnTo>
                <a:lnTo>
                  <a:pt x="402" y="1158"/>
                </a:lnTo>
                <a:lnTo>
                  <a:pt x="407" y="1153"/>
                </a:lnTo>
                <a:lnTo>
                  <a:pt x="402" y="1176"/>
                </a:lnTo>
                <a:lnTo>
                  <a:pt x="420" y="1198"/>
                </a:lnTo>
                <a:lnTo>
                  <a:pt x="425" y="1202"/>
                </a:lnTo>
                <a:lnTo>
                  <a:pt x="416" y="1207"/>
                </a:lnTo>
                <a:lnTo>
                  <a:pt x="411" y="1211"/>
                </a:lnTo>
                <a:lnTo>
                  <a:pt x="407" y="1211"/>
                </a:lnTo>
                <a:lnTo>
                  <a:pt x="398" y="1198"/>
                </a:lnTo>
                <a:lnTo>
                  <a:pt x="394" y="1198"/>
                </a:lnTo>
                <a:lnTo>
                  <a:pt x="389" y="1193"/>
                </a:lnTo>
                <a:lnTo>
                  <a:pt x="380" y="1189"/>
                </a:lnTo>
                <a:lnTo>
                  <a:pt x="385" y="1185"/>
                </a:lnTo>
                <a:lnTo>
                  <a:pt x="371" y="1185"/>
                </a:lnTo>
                <a:lnTo>
                  <a:pt x="371" y="1180"/>
                </a:lnTo>
                <a:lnTo>
                  <a:pt x="362" y="1180"/>
                </a:lnTo>
                <a:lnTo>
                  <a:pt x="362" y="1185"/>
                </a:lnTo>
                <a:lnTo>
                  <a:pt x="358" y="1180"/>
                </a:lnTo>
                <a:lnTo>
                  <a:pt x="353" y="1185"/>
                </a:lnTo>
                <a:lnTo>
                  <a:pt x="349" y="1176"/>
                </a:lnTo>
                <a:lnTo>
                  <a:pt x="344" y="1180"/>
                </a:lnTo>
                <a:lnTo>
                  <a:pt x="340" y="1171"/>
                </a:lnTo>
                <a:lnTo>
                  <a:pt x="322" y="1171"/>
                </a:lnTo>
                <a:lnTo>
                  <a:pt x="313" y="1167"/>
                </a:lnTo>
                <a:lnTo>
                  <a:pt x="300" y="1167"/>
                </a:lnTo>
                <a:lnTo>
                  <a:pt x="295" y="1167"/>
                </a:lnTo>
                <a:lnTo>
                  <a:pt x="291" y="1167"/>
                </a:lnTo>
                <a:lnTo>
                  <a:pt x="255" y="1131"/>
                </a:lnTo>
                <a:lnTo>
                  <a:pt x="251" y="1126"/>
                </a:lnTo>
                <a:lnTo>
                  <a:pt x="251" y="1122"/>
                </a:lnTo>
                <a:lnTo>
                  <a:pt x="260" y="1122"/>
                </a:lnTo>
                <a:lnTo>
                  <a:pt x="264" y="1122"/>
                </a:lnTo>
                <a:lnTo>
                  <a:pt x="264" y="1113"/>
                </a:lnTo>
                <a:lnTo>
                  <a:pt x="268" y="1109"/>
                </a:lnTo>
                <a:lnTo>
                  <a:pt x="273" y="1109"/>
                </a:lnTo>
                <a:lnTo>
                  <a:pt x="268" y="1104"/>
                </a:lnTo>
                <a:lnTo>
                  <a:pt x="264" y="1104"/>
                </a:lnTo>
                <a:lnTo>
                  <a:pt x="260" y="1100"/>
                </a:lnTo>
                <a:lnTo>
                  <a:pt x="268" y="1095"/>
                </a:lnTo>
                <a:lnTo>
                  <a:pt x="273" y="1091"/>
                </a:lnTo>
                <a:lnTo>
                  <a:pt x="286" y="1086"/>
                </a:lnTo>
                <a:lnTo>
                  <a:pt x="282" y="1082"/>
                </a:lnTo>
                <a:lnTo>
                  <a:pt x="273" y="1086"/>
                </a:lnTo>
                <a:lnTo>
                  <a:pt x="282" y="1073"/>
                </a:lnTo>
                <a:lnTo>
                  <a:pt x="291" y="1068"/>
                </a:lnTo>
                <a:lnTo>
                  <a:pt x="295" y="1059"/>
                </a:lnTo>
                <a:lnTo>
                  <a:pt x="291" y="1055"/>
                </a:lnTo>
                <a:lnTo>
                  <a:pt x="295" y="1050"/>
                </a:lnTo>
                <a:lnTo>
                  <a:pt x="291" y="1046"/>
                </a:lnTo>
                <a:lnTo>
                  <a:pt x="295" y="1042"/>
                </a:lnTo>
                <a:lnTo>
                  <a:pt x="282" y="1033"/>
                </a:lnTo>
                <a:lnTo>
                  <a:pt x="277" y="1028"/>
                </a:lnTo>
                <a:lnTo>
                  <a:pt x="273" y="1033"/>
                </a:lnTo>
                <a:lnTo>
                  <a:pt x="273" y="1028"/>
                </a:lnTo>
                <a:lnTo>
                  <a:pt x="264" y="1028"/>
                </a:lnTo>
                <a:lnTo>
                  <a:pt x="264" y="1024"/>
                </a:lnTo>
                <a:lnTo>
                  <a:pt x="260" y="1019"/>
                </a:lnTo>
                <a:lnTo>
                  <a:pt x="251" y="1019"/>
                </a:lnTo>
                <a:lnTo>
                  <a:pt x="246" y="1024"/>
                </a:lnTo>
                <a:lnTo>
                  <a:pt x="242" y="1019"/>
                </a:lnTo>
                <a:lnTo>
                  <a:pt x="233" y="1019"/>
                </a:lnTo>
                <a:lnTo>
                  <a:pt x="228" y="1006"/>
                </a:lnTo>
                <a:lnTo>
                  <a:pt x="228" y="997"/>
                </a:lnTo>
                <a:lnTo>
                  <a:pt x="210" y="992"/>
                </a:lnTo>
                <a:lnTo>
                  <a:pt x="215" y="983"/>
                </a:lnTo>
                <a:lnTo>
                  <a:pt x="210" y="983"/>
                </a:lnTo>
                <a:lnTo>
                  <a:pt x="206" y="975"/>
                </a:lnTo>
                <a:lnTo>
                  <a:pt x="197" y="975"/>
                </a:lnTo>
                <a:lnTo>
                  <a:pt x="188" y="979"/>
                </a:lnTo>
                <a:lnTo>
                  <a:pt x="184" y="975"/>
                </a:lnTo>
                <a:lnTo>
                  <a:pt x="179" y="979"/>
                </a:lnTo>
                <a:lnTo>
                  <a:pt x="175" y="979"/>
                </a:lnTo>
                <a:lnTo>
                  <a:pt x="175" y="970"/>
                </a:lnTo>
                <a:lnTo>
                  <a:pt x="170" y="957"/>
                </a:lnTo>
                <a:lnTo>
                  <a:pt x="175" y="952"/>
                </a:lnTo>
                <a:lnTo>
                  <a:pt x="179" y="957"/>
                </a:lnTo>
                <a:lnTo>
                  <a:pt x="184" y="952"/>
                </a:lnTo>
                <a:lnTo>
                  <a:pt x="188" y="948"/>
                </a:lnTo>
                <a:lnTo>
                  <a:pt x="184" y="948"/>
                </a:lnTo>
                <a:lnTo>
                  <a:pt x="179" y="939"/>
                </a:lnTo>
                <a:lnTo>
                  <a:pt x="170" y="943"/>
                </a:lnTo>
                <a:lnTo>
                  <a:pt x="170" y="930"/>
                </a:lnTo>
                <a:lnTo>
                  <a:pt x="166" y="925"/>
                </a:lnTo>
                <a:lnTo>
                  <a:pt x="166" y="921"/>
                </a:lnTo>
                <a:lnTo>
                  <a:pt x="166" y="912"/>
                </a:lnTo>
                <a:lnTo>
                  <a:pt x="166" y="907"/>
                </a:lnTo>
                <a:lnTo>
                  <a:pt x="161" y="894"/>
                </a:lnTo>
                <a:lnTo>
                  <a:pt x="152" y="885"/>
                </a:lnTo>
                <a:lnTo>
                  <a:pt x="143" y="890"/>
                </a:lnTo>
                <a:lnTo>
                  <a:pt x="139" y="881"/>
                </a:lnTo>
                <a:lnTo>
                  <a:pt x="130" y="881"/>
                </a:lnTo>
                <a:lnTo>
                  <a:pt x="130" y="876"/>
                </a:lnTo>
                <a:lnTo>
                  <a:pt x="126" y="876"/>
                </a:lnTo>
                <a:lnTo>
                  <a:pt x="121" y="876"/>
                </a:lnTo>
                <a:lnTo>
                  <a:pt x="121" y="867"/>
                </a:lnTo>
                <a:lnTo>
                  <a:pt x="121" y="849"/>
                </a:lnTo>
                <a:lnTo>
                  <a:pt x="126" y="845"/>
                </a:lnTo>
                <a:lnTo>
                  <a:pt x="121" y="840"/>
                </a:lnTo>
                <a:lnTo>
                  <a:pt x="117" y="840"/>
                </a:lnTo>
                <a:close/>
                <a:moveTo>
                  <a:pt x="157" y="724"/>
                </a:moveTo>
                <a:lnTo>
                  <a:pt x="166" y="715"/>
                </a:lnTo>
                <a:lnTo>
                  <a:pt x="175" y="724"/>
                </a:lnTo>
                <a:lnTo>
                  <a:pt x="184" y="724"/>
                </a:lnTo>
                <a:lnTo>
                  <a:pt x="188" y="733"/>
                </a:lnTo>
                <a:lnTo>
                  <a:pt x="197" y="747"/>
                </a:lnTo>
                <a:lnTo>
                  <a:pt x="188" y="751"/>
                </a:lnTo>
                <a:lnTo>
                  <a:pt x="188" y="764"/>
                </a:lnTo>
                <a:lnTo>
                  <a:pt x="184" y="760"/>
                </a:lnTo>
                <a:lnTo>
                  <a:pt x="175" y="760"/>
                </a:lnTo>
                <a:lnTo>
                  <a:pt x="175" y="769"/>
                </a:lnTo>
                <a:lnTo>
                  <a:pt x="170" y="769"/>
                </a:lnTo>
                <a:lnTo>
                  <a:pt x="157" y="738"/>
                </a:lnTo>
                <a:lnTo>
                  <a:pt x="152" y="742"/>
                </a:lnTo>
                <a:lnTo>
                  <a:pt x="148" y="733"/>
                </a:lnTo>
                <a:lnTo>
                  <a:pt x="157" y="733"/>
                </a:lnTo>
                <a:lnTo>
                  <a:pt x="157" y="724"/>
                </a:lnTo>
                <a:close/>
                <a:moveTo>
                  <a:pt x="429" y="443"/>
                </a:moveTo>
                <a:lnTo>
                  <a:pt x="420" y="447"/>
                </a:lnTo>
                <a:lnTo>
                  <a:pt x="416" y="452"/>
                </a:lnTo>
                <a:lnTo>
                  <a:pt x="416" y="465"/>
                </a:lnTo>
                <a:lnTo>
                  <a:pt x="429" y="470"/>
                </a:lnTo>
                <a:lnTo>
                  <a:pt x="434" y="465"/>
                </a:lnTo>
                <a:lnTo>
                  <a:pt x="438" y="452"/>
                </a:lnTo>
                <a:lnTo>
                  <a:pt x="429" y="443"/>
                </a:lnTo>
                <a:close/>
                <a:moveTo>
                  <a:pt x="532" y="268"/>
                </a:moveTo>
                <a:lnTo>
                  <a:pt x="541" y="255"/>
                </a:lnTo>
                <a:lnTo>
                  <a:pt x="537" y="251"/>
                </a:lnTo>
                <a:lnTo>
                  <a:pt x="545" y="246"/>
                </a:lnTo>
                <a:lnTo>
                  <a:pt x="541" y="242"/>
                </a:lnTo>
                <a:lnTo>
                  <a:pt x="550" y="237"/>
                </a:lnTo>
                <a:lnTo>
                  <a:pt x="563" y="215"/>
                </a:lnTo>
                <a:lnTo>
                  <a:pt x="559" y="201"/>
                </a:lnTo>
                <a:lnTo>
                  <a:pt x="568" y="197"/>
                </a:lnTo>
                <a:lnTo>
                  <a:pt x="568" y="188"/>
                </a:lnTo>
                <a:lnTo>
                  <a:pt x="577" y="192"/>
                </a:lnTo>
                <a:lnTo>
                  <a:pt x="590" y="184"/>
                </a:lnTo>
                <a:lnTo>
                  <a:pt x="590" y="175"/>
                </a:lnTo>
                <a:lnTo>
                  <a:pt x="630" y="143"/>
                </a:lnTo>
                <a:lnTo>
                  <a:pt x="635" y="148"/>
                </a:lnTo>
                <a:lnTo>
                  <a:pt x="702" y="99"/>
                </a:lnTo>
                <a:lnTo>
                  <a:pt x="711" y="67"/>
                </a:lnTo>
                <a:lnTo>
                  <a:pt x="702" y="54"/>
                </a:lnTo>
                <a:lnTo>
                  <a:pt x="688" y="49"/>
                </a:lnTo>
                <a:lnTo>
                  <a:pt x="671" y="63"/>
                </a:lnTo>
                <a:lnTo>
                  <a:pt x="644" y="85"/>
                </a:lnTo>
                <a:lnTo>
                  <a:pt x="612" y="94"/>
                </a:lnTo>
                <a:lnTo>
                  <a:pt x="595" y="94"/>
                </a:lnTo>
                <a:lnTo>
                  <a:pt x="595" y="108"/>
                </a:lnTo>
                <a:lnTo>
                  <a:pt x="586" y="103"/>
                </a:lnTo>
                <a:lnTo>
                  <a:pt x="563" y="125"/>
                </a:lnTo>
                <a:lnTo>
                  <a:pt x="554" y="143"/>
                </a:lnTo>
                <a:lnTo>
                  <a:pt x="528" y="166"/>
                </a:lnTo>
                <a:lnTo>
                  <a:pt x="519" y="161"/>
                </a:lnTo>
                <a:lnTo>
                  <a:pt x="519" y="179"/>
                </a:lnTo>
                <a:lnTo>
                  <a:pt x="523" y="175"/>
                </a:lnTo>
                <a:lnTo>
                  <a:pt x="528" y="179"/>
                </a:lnTo>
                <a:lnTo>
                  <a:pt x="519" y="188"/>
                </a:lnTo>
                <a:lnTo>
                  <a:pt x="528" y="188"/>
                </a:lnTo>
                <a:lnTo>
                  <a:pt x="514" y="192"/>
                </a:lnTo>
                <a:lnTo>
                  <a:pt x="523" y="201"/>
                </a:lnTo>
                <a:lnTo>
                  <a:pt x="514" y="201"/>
                </a:lnTo>
                <a:lnTo>
                  <a:pt x="519" y="215"/>
                </a:lnTo>
                <a:lnTo>
                  <a:pt x="510" y="215"/>
                </a:lnTo>
                <a:lnTo>
                  <a:pt x="505" y="219"/>
                </a:lnTo>
                <a:lnTo>
                  <a:pt x="505" y="224"/>
                </a:lnTo>
                <a:lnTo>
                  <a:pt x="487" y="237"/>
                </a:lnTo>
                <a:lnTo>
                  <a:pt x="496" y="246"/>
                </a:lnTo>
                <a:lnTo>
                  <a:pt x="514" y="242"/>
                </a:lnTo>
                <a:lnTo>
                  <a:pt x="496" y="260"/>
                </a:lnTo>
                <a:lnTo>
                  <a:pt x="501" y="260"/>
                </a:lnTo>
                <a:lnTo>
                  <a:pt x="514" y="255"/>
                </a:lnTo>
                <a:lnTo>
                  <a:pt x="528" y="264"/>
                </a:lnTo>
                <a:lnTo>
                  <a:pt x="532" y="268"/>
                </a:lnTo>
                <a:close/>
                <a:moveTo>
                  <a:pt x="550" y="385"/>
                </a:moveTo>
                <a:lnTo>
                  <a:pt x="537" y="376"/>
                </a:lnTo>
                <a:lnTo>
                  <a:pt x="519" y="349"/>
                </a:lnTo>
                <a:lnTo>
                  <a:pt x="519" y="327"/>
                </a:lnTo>
                <a:lnTo>
                  <a:pt x="523" y="300"/>
                </a:lnTo>
                <a:lnTo>
                  <a:pt x="528" y="268"/>
                </a:lnTo>
                <a:lnTo>
                  <a:pt x="510" y="260"/>
                </a:lnTo>
                <a:lnTo>
                  <a:pt x="501" y="264"/>
                </a:lnTo>
                <a:lnTo>
                  <a:pt x="487" y="268"/>
                </a:lnTo>
                <a:lnTo>
                  <a:pt x="483" y="282"/>
                </a:lnTo>
                <a:lnTo>
                  <a:pt x="478" y="282"/>
                </a:lnTo>
                <a:lnTo>
                  <a:pt x="470" y="291"/>
                </a:lnTo>
                <a:lnTo>
                  <a:pt x="474" y="295"/>
                </a:lnTo>
                <a:lnTo>
                  <a:pt x="470" y="322"/>
                </a:lnTo>
                <a:lnTo>
                  <a:pt x="461" y="322"/>
                </a:lnTo>
                <a:lnTo>
                  <a:pt x="456" y="335"/>
                </a:lnTo>
                <a:lnTo>
                  <a:pt x="461" y="344"/>
                </a:lnTo>
                <a:lnTo>
                  <a:pt x="465" y="349"/>
                </a:lnTo>
                <a:lnTo>
                  <a:pt x="483" y="353"/>
                </a:lnTo>
                <a:lnTo>
                  <a:pt x="487" y="358"/>
                </a:lnTo>
                <a:lnTo>
                  <a:pt x="474" y="358"/>
                </a:lnTo>
                <a:lnTo>
                  <a:pt x="474" y="362"/>
                </a:lnTo>
                <a:lnTo>
                  <a:pt x="478" y="362"/>
                </a:lnTo>
                <a:lnTo>
                  <a:pt x="483" y="380"/>
                </a:lnTo>
                <a:lnTo>
                  <a:pt x="483" y="367"/>
                </a:lnTo>
                <a:lnTo>
                  <a:pt x="492" y="367"/>
                </a:lnTo>
                <a:lnTo>
                  <a:pt x="501" y="371"/>
                </a:lnTo>
                <a:lnTo>
                  <a:pt x="492" y="376"/>
                </a:lnTo>
                <a:lnTo>
                  <a:pt x="487" y="389"/>
                </a:lnTo>
                <a:lnTo>
                  <a:pt x="501" y="398"/>
                </a:lnTo>
                <a:lnTo>
                  <a:pt x="514" y="403"/>
                </a:lnTo>
                <a:lnTo>
                  <a:pt x="519" y="394"/>
                </a:lnTo>
                <a:lnTo>
                  <a:pt x="532" y="398"/>
                </a:lnTo>
                <a:lnTo>
                  <a:pt x="528" y="385"/>
                </a:lnTo>
                <a:lnTo>
                  <a:pt x="541" y="394"/>
                </a:lnTo>
                <a:lnTo>
                  <a:pt x="550" y="385"/>
                </a:lnTo>
                <a:close/>
                <a:moveTo>
                  <a:pt x="729" y="255"/>
                </a:moveTo>
                <a:lnTo>
                  <a:pt x="729" y="277"/>
                </a:lnTo>
                <a:lnTo>
                  <a:pt x="733" y="277"/>
                </a:lnTo>
                <a:lnTo>
                  <a:pt x="751" y="268"/>
                </a:lnTo>
                <a:lnTo>
                  <a:pt x="751" y="260"/>
                </a:lnTo>
                <a:lnTo>
                  <a:pt x="738" y="251"/>
                </a:lnTo>
                <a:lnTo>
                  <a:pt x="729" y="255"/>
                </a:lnTo>
                <a:close/>
                <a:moveTo>
                  <a:pt x="1224" y="979"/>
                </a:moveTo>
                <a:lnTo>
                  <a:pt x="1229" y="979"/>
                </a:lnTo>
                <a:lnTo>
                  <a:pt x="1256" y="957"/>
                </a:lnTo>
                <a:lnTo>
                  <a:pt x="1265" y="948"/>
                </a:lnTo>
                <a:lnTo>
                  <a:pt x="1260" y="943"/>
                </a:lnTo>
                <a:lnTo>
                  <a:pt x="1278" y="921"/>
                </a:lnTo>
                <a:lnTo>
                  <a:pt x="1282" y="912"/>
                </a:lnTo>
                <a:lnTo>
                  <a:pt x="1282" y="894"/>
                </a:lnTo>
                <a:lnTo>
                  <a:pt x="1291" y="885"/>
                </a:lnTo>
                <a:lnTo>
                  <a:pt x="1296" y="890"/>
                </a:lnTo>
                <a:lnTo>
                  <a:pt x="1287" y="925"/>
                </a:lnTo>
                <a:lnTo>
                  <a:pt x="1291" y="930"/>
                </a:lnTo>
                <a:lnTo>
                  <a:pt x="1287" y="939"/>
                </a:lnTo>
                <a:lnTo>
                  <a:pt x="1282" y="934"/>
                </a:lnTo>
                <a:lnTo>
                  <a:pt x="1278" y="939"/>
                </a:lnTo>
                <a:lnTo>
                  <a:pt x="1278" y="943"/>
                </a:lnTo>
                <a:lnTo>
                  <a:pt x="1265" y="961"/>
                </a:lnTo>
                <a:lnTo>
                  <a:pt x="1256" y="970"/>
                </a:lnTo>
                <a:lnTo>
                  <a:pt x="1251" y="979"/>
                </a:lnTo>
                <a:lnTo>
                  <a:pt x="1247" y="975"/>
                </a:lnTo>
                <a:lnTo>
                  <a:pt x="1238" y="988"/>
                </a:lnTo>
                <a:lnTo>
                  <a:pt x="1224" y="992"/>
                </a:lnTo>
                <a:lnTo>
                  <a:pt x="1207" y="988"/>
                </a:lnTo>
                <a:lnTo>
                  <a:pt x="1220" y="983"/>
                </a:lnTo>
                <a:lnTo>
                  <a:pt x="1224" y="979"/>
                </a:lnTo>
                <a:close/>
                <a:moveTo>
                  <a:pt x="1716" y="108"/>
                </a:moveTo>
                <a:lnTo>
                  <a:pt x="1693" y="121"/>
                </a:lnTo>
                <a:lnTo>
                  <a:pt x="1680" y="139"/>
                </a:lnTo>
                <a:lnTo>
                  <a:pt x="1676" y="166"/>
                </a:lnTo>
                <a:lnTo>
                  <a:pt x="1680" y="179"/>
                </a:lnTo>
                <a:lnTo>
                  <a:pt x="1698" y="192"/>
                </a:lnTo>
                <a:lnTo>
                  <a:pt x="1716" y="201"/>
                </a:lnTo>
                <a:lnTo>
                  <a:pt x="1725" y="188"/>
                </a:lnTo>
                <a:lnTo>
                  <a:pt x="1729" y="197"/>
                </a:lnTo>
                <a:lnTo>
                  <a:pt x="1738" y="192"/>
                </a:lnTo>
                <a:lnTo>
                  <a:pt x="1747" y="184"/>
                </a:lnTo>
                <a:lnTo>
                  <a:pt x="1751" y="188"/>
                </a:lnTo>
                <a:lnTo>
                  <a:pt x="1760" y="184"/>
                </a:lnTo>
                <a:lnTo>
                  <a:pt x="1765" y="188"/>
                </a:lnTo>
                <a:lnTo>
                  <a:pt x="1769" y="184"/>
                </a:lnTo>
                <a:lnTo>
                  <a:pt x="1760" y="179"/>
                </a:lnTo>
                <a:lnTo>
                  <a:pt x="1756" y="166"/>
                </a:lnTo>
                <a:lnTo>
                  <a:pt x="1756" y="148"/>
                </a:lnTo>
                <a:lnTo>
                  <a:pt x="1760" y="130"/>
                </a:lnTo>
                <a:lnTo>
                  <a:pt x="1765" y="139"/>
                </a:lnTo>
                <a:lnTo>
                  <a:pt x="1760" y="152"/>
                </a:lnTo>
                <a:lnTo>
                  <a:pt x="1765" y="175"/>
                </a:lnTo>
                <a:lnTo>
                  <a:pt x="1774" y="179"/>
                </a:lnTo>
                <a:lnTo>
                  <a:pt x="1783" y="175"/>
                </a:lnTo>
                <a:lnTo>
                  <a:pt x="1792" y="161"/>
                </a:lnTo>
                <a:lnTo>
                  <a:pt x="1787" y="148"/>
                </a:lnTo>
                <a:lnTo>
                  <a:pt x="1796" y="139"/>
                </a:lnTo>
                <a:lnTo>
                  <a:pt x="1765" y="121"/>
                </a:lnTo>
                <a:lnTo>
                  <a:pt x="1747" y="103"/>
                </a:lnTo>
                <a:lnTo>
                  <a:pt x="1738" y="121"/>
                </a:lnTo>
                <a:lnTo>
                  <a:pt x="1734" y="134"/>
                </a:lnTo>
                <a:lnTo>
                  <a:pt x="1729" y="134"/>
                </a:lnTo>
                <a:lnTo>
                  <a:pt x="1716" y="108"/>
                </a:lnTo>
                <a:close/>
                <a:moveTo>
                  <a:pt x="1729" y="219"/>
                </a:moveTo>
                <a:lnTo>
                  <a:pt x="1729" y="237"/>
                </a:lnTo>
                <a:lnTo>
                  <a:pt x="1734" y="242"/>
                </a:lnTo>
                <a:lnTo>
                  <a:pt x="1738" y="233"/>
                </a:lnTo>
                <a:lnTo>
                  <a:pt x="1738" y="224"/>
                </a:lnTo>
                <a:lnTo>
                  <a:pt x="1729" y="219"/>
                </a:lnTo>
                <a:close/>
                <a:moveTo>
                  <a:pt x="1738" y="242"/>
                </a:moveTo>
                <a:lnTo>
                  <a:pt x="1734" y="255"/>
                </a:lnTo>
                <a:lnTo>
                  <a:pt x="1720" y="260"/>
                </a:lnTo>
                <a:lnTo>
                  <a:pt x="1720" y="264"/>
                </a:lnTo>
                <a:lnTo>
                  <a:pt x="1734" y="264"/>
                </a:lnTo>
                <a:lnTo>
                  <a:pt x="1774" y="268"/>
                </a:lnTo>
                <a:lnTo>
                  <a:pt x="1774" y="251"/>
                </a:lnTo>
                <a:lnTo>
                  <a:pt x="1760" y="246"/>
                </a:lnTo>
                <a:lnTo>
                  <a:pt x="1760" y="242"/>
                </a:lnTo>
                <a:lnTo>
                  <a:pt x="1751" y="237"/>
                </a:lnTo>
                <a:lnTo>
                  <a:pt x="1738" y="242"/>
                </a:lnTo>
                <a:close/>
                <a:moveTo>
                  <a:pt x="1765" y="921"/>
                </a:moveTo>
                <a:lnTo>
                  <a:pt x="1756" y="921"/>
                </a:lnTo>
                <a:lnTo>
                  <a:pt x="1756" y="939"/>
                </a:lnTo>
                <a:lnTo>
                  <a:pt x="1747" y="948"/>
                </a:lnTo>
                <a:lnTo>
                  <a:pt x="1747" y="988"/>
                </a:lnTo>
                <a:lnTo>
                  <a:pt x="1751" y="1006"/>
                </a:lnTo>
                <a:lnTo>
                  <a:pt x="1747" y="1055"/>
                </a:lnTo>
                <a:lnTo>
                  <a:pt x="1756" y="1068"/>
                </a:lnTo>
                <a:lnTo>
                  <a:pt x="1747" y="1082"/>
                </a:lnTo>
                <a:lnTo>
                  <a:pt x="1751" y="1091"/>
                </a:lnTo>
                <a:lnTo>
                  <a:pt x="1747" y="1104"/>
                </a:lnTo>
                <a:lnTo>
                  <a:pt x="1751" y="1118"/>
                </a:lnTo>
                <a:lnTo>
                  <a:pt x="1760" y="1100"/>
                </a:lnTo>
                <a:lnTo>
                  <a:pt x="1769" y="1104"/>
                </a:lnTo>
                <a:lnTo>
                  <a:pt x="1774" y="1113"/>
                </a:lnTo>
                <a:lnTo>
                  <a:pt x="1774" y="1095"/>
                </a:lnTo>
                <a:lnTo>
                  <a:pt x="1760" y="1077"/>
                </a:lnTo>
                <a:lnTo>
                  <a:pt x="1769" y="1046"/>
                </a:lnTo>
                <a:lnTo>
                  <a:pt x="1783" y="1046"/>
                </a:lnTo>
                <a:lnTo>
                  <a:pt x="1792" y="1055"/>
                </a:lnTo>
                <a:lnTo>
                  <a:pt x="1787" y="1046"/>
                </a:lnTo>
                <a:lnTo>
                  <a:pt x="1778" y="1019"/>
                </a:lnTo>
                <a:lnTo>
                  <a:pt x="1769" y="952"/>
                </a:lnTo>
                <a:lnTo>
                  <a:pt x="1765" y="921"/>
                </a:lnTo>
                <a:close/>
                <a:moveTo>
                  <a:pt x="1805" y="1158"/>
                </a:moveTo>
                <a:lnTo>
                  <a:pt x="1805" y="1162"/>
                </a:lnTo>
                <a:lnTo>
                  <a:pt x="1819" y="1144"/>
                </a:lnTo>
                <a:lnTo>
                  <a:pt x="1814" y="1144"/>
                </a:lnTo>
                <a:lnTo>
                  <a:pt x="1805" y="1158"/>
                </a:lnTo>
                <a:close/>
                <a:moveTo>
                  <a:pt x="1850" y="1118"/>
                </a:moveTo>
                <a:lnTo>
                  <a:pt x="1841" y="1126"/>
                </a:lnTo>
                <a:lnTo>
                  <a:pt x="1836" y="1122"/>
                </a:lnTo>
                <a:lnTo>
                  <a:pt x="1827" y="1131"/>
                </a:lnTo>
                <a:lnTo>
                  <a:pt x="1823" y="1140"/>
                </a:lnTo>
                <a:lnTo>
                  <a:pt x="1819" y="1144"/>
                </a:lnTo>
                <a:lnTo>
                  <a:pt x="1823" y="1144"/>
                </a:lnTo>
                <a:lnTo>
                  <a:pt x="1836" y="1135"/>
                </a:lnTo>
                <a:lnTo>
                  <a:pt x="1850" y="1126"/>
                </a:lnTo>
                <a:lnTo>
                  <a:pt x="1850" y="1118"/>
                </a:lnTo>
                <a:close/>
                <a:moveTo>
                  <a:pt x="1854" y="161"/>
                </a:moveTo>
                <a:lnTo>
                  <a:pt x="1850" y="166"/>
                </a:lnTo>
                <a:lnTo>
                  <a:pt x="1845" y="166"/>
                </a:lnTo>
                <a:lnTo>
                  <a:pt x="1850" y="152"/>
                </a:lnTo>
                <a:lnTo>
                  <a:pt x="1832" y="152"/>
                </a:lnTo>
                <a:lnTo>
                  <a:pt x="1827" y="157"/>
                </a:lnTo>
                <a:lnTo>
                  <a:pt x="1819" y="157"/>
                </a:lnTo>
                <a:lnTo>
                  <a:pt x="1823" y="143"/>
                </a:lnTo>
                <a:lnTo>
                  <a:pt x="1814" y="143"/>
                </a:lnTo>
                <a:lnTo>
                  <a:pt x="1814" y="157"/>
                </a:lnTo>
                <a:lnTo>
                  <a:pt x="1810" y="161"/>
                </a:lnTo>
                <a:lnTo>
                  <a:pt x="1810" y="170"/>
                </a:lnTo>
                <a:lnTo>
                  <a:pt x="1823" y="184"/>
                </a:lnTo>
                <a:lnTo>
                  <a:pt x="1832" y="188"/>
                </a:lnTo>
                <a:lnTo>
                  <a:pt x="1841" y="197"/>
                </a:lnTo>
                <a:lnTo>
                  <a:pt x="1863" y="197"/>
                </a:lnTo>
                <a:lnTo>
                  <a:pt x="1868" y="192"/>
                </a:lnTo>
                <a:lnTo>
                  <a:pt x="1877" y="188"/>
                </a:lnTo>
                <a:lnTo>
                  <a:pt x="1872" y="184"/>
                </a:lnTo>
                <a:lnTo>
                  <a:pt x="1877" y="175"/>
                </a:lnTo>
                <a:lnTo>
                  <a:pt x="1872" y="175"/>
                </a:lnTo>
                <a:lnTo>
                  <a:pt x="1868" y="175"/>
                </a:lnTo>
                <a:lnTo>
                  <a:pt x="1868" y="170"/>
                </a:lnTo>
                <a:lnTo>
                  <a:pt x="1854" y="161"/>
                </a:lnTo>
                <a:close/>
                <a:moveTo>
                  <a:pt x="1877" y="1109"/>
                </a:moveTo>
                <a:lnTo>
                  <a:pt x="1872" y="1109"/>
                </a:lnTo>
                <a:lnTo>
                  <a:pt x="1859" y="1122"/>
                </a:lnTo>
                <a:lnTo>
                  <a:pt x="1863" y="1126"/>
                </a:lnTo>
                <a:lnTo>
                  <a:pt x="1877" y="1109"/>
                </a:lnTo>
                <a:close/>
                <a:moveTo>
                  <a:pt x="1899" y="1086"/>
                </a:moveTo>
                <a:lnTo>
                  <a:pt x="1903" y="1086"/>
                </a:lnTo>
                <a:lnTo>
                  <a:pt x="1899" y="1082"/>
                </a:lnTo>
                <a:lnTo>
                  <a:pt x="1890" y="1091"/>
                </a:lnTo>
                <a:lnTo>
                  <a:pt x="1890" y="1100"/>
                </a:lnTo>
                <a:lnTo>
                  <a:pt x="1899" y="1091"/>
                </a:lnTo>
                <a:lnTo>
                  <a:pt x="1899" y="1086"/>
                </a:lnTo>
                <a:close/>
                <a:moveTo>
                  <a:pt x="1935" y="1037"/>
                </a:moveTo>
                <a:lnTo>
                  <a:pt x="1930" y="1042"/>
                </a:lnTo>
                <a:lnTo>
                  <a:pt x="1935" y="1046"/>
                </a:lnTo>
                <a:lnTo>
                  <a:pt x="1939" y="1037"/>
                </a:lnTo>
                <a:lnTo>
                  <a:pt x="1935" y="1037"/>
                </a:lnTo>
                <a:close/>
                <a:moveTo>
                  <a:pt x="1957" y="1015"/>
                </a:moveTo>
                <a:lnTo>
                  <a:pt x="1957" y="1019"/>
                </a:lnTo>
                <a:lnTo>
                  <a:pt x="1961" y="1015"/>
                </a:lnTo>
                <a:lnTo>
                  <a:pt x="1957" y="1010"/>
                </a:lnTo>
                <a:lnTo>
                  <a:pt x="1953" y="1015"/>
                </a:lnTo>
                <a:lnTo>
                  <a:pt x="1957" y="1015"/>
                </a:lnTo>
                <a:lnTo>
                  <a:pt x="1953" y="1015"/>
                </a:lnTo>
                <a:lnTo>
                  <a:pt x="1948" y="1024"/>
                </a:lnTo>
                <a:lnTo>
                  <a:pt x="1944" y="1024"/>
                </a:lnTo>
                <a:lnTo>
                  <a:pt x="1944" y="1033"/>
                </a:lnTo>
                <a:lnTo>
                  <a:pt x="1948" y="1028"/>
                </a:lnTo>
                <a:lnTo>
                  <a:pt x="1957" y="1019"/>
                </a:lnTo>
                <a:lnTo>
                  <a:pt x="1957" y="1015"/>
                </a:lnTo>
                <a:close/>
                <a:moveTo>
                  <a:pt x="2064" y="800"/>
                </a:moveTo>
                <a:lnTo>
                  <a:pt x="2060" y="809"/>
                </a:lnTo>
                <a:lnTo>
                  <a:pt x="2055" y="818"/>
                </a:lnTo>
                <a:lnTo>
                  <a:pt x="2060" y="823"/>
                </a:lnTo>
                <a:lnTo>
                  <a:pt x="2078" y="805"/>
                </a:lnTo>
                <a:lnTo>
                  <a:pt x="2073" y="796"/>
                </a:lnTo>
                <a:lnTo>
                  <a:pt x="2069" y="796"/>
                </a:lnTo>
                <a:lnTo>
                  <a:pt x="2069" y="800"/>
                </a:lnTo>
                <a:lnTo>
                  <a:pt x="2064" y="800"/>
                </a:lnTo>
                <a:close/>
                <a:moveTo>
                  <a:pt x="2100" y="903"/>
                </a:moveTo>
                <a:lnTo>
                  <a:pt x="2091" y="903"/>
                </a:lnTo>
                <a:lnTo>
                  <a:pt x="2095" y="907"/>
                </a:lnTo>
                <a:lnTo>
                  <a:pt x="2104" y="921"/>
                </a:lnTo>
                <a:lnTo>
                  <a:pt x="2104" y="912"/>
                </a:lnTo>
                <a:lnTo>
                  <a:pt x="2100" y="903"/>
                </a:lnTo>
                <a:close/>
                <a:moveTo>
                  <a:pt x="2274" y="371"/>
                </a:moveTo>
                <a:lnTo>
                  <a:pt x="2279" y="385"/>
                </a:lnTo>
                <a:lnTo>
                  <a:pt x="2288" y="380"/>
                </a:lnTo>
                <a:lnTo>
                  <a:pt x="2292" y="380"/>
                </a:lnTo>
                <a:lnTo>
                  <a:pt x="2301" y="376"/>
                </a:lnTo>
                <a:lnTo>
                  <a:pt x="2305" y="380"/>
                </a:lnTo>
                <a:lnTo>
                  <a:pt x="2319" y="380"/>
                </a:lnTo>
                <a:lnTo>
                  <a:pt x="2337" y="367"/>
                </a:lnTo>
                <a:lnTo>
                  <a:pt x="2328" y="353"/>
                </a:lnTo>
                <a:lnTo>
                  <a:pt x="2305" y="349"/>
                </a:lnTo>
                <a:lnTo>
                  <a:pt x="2296" y="349"/>
                </a:lnTo>
                <a:lnTo>
                  <a:pt x="2274" y="371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0" name="Freeform 181"/>
          <p:cNvSpPr>
            <a:spLocks/>
          </p:cNvSpPr>
          <p:nvPr/>
        </p:nvSpPr>
        <p:spPr bwMode="gray">
          <a:xfrm>
            <a:off x="2097726" y="4490158"/>
            <a:ext cx="446281" cy="326410"/>
          </a:xfrm>
          <a:custGeom>
            <a:avLst/>
            <a:gdLst>
              <a:gd name="T0" fmla="*/ 9 w 326"/>
              <a:gd name="T1" fmla="*/ 49 h 268"/>
              <a:gd name="T2" fmla="*/ 31 w 326"/>
              <a:gd name="T3" fmla="*/ 49 h 268"/>
              <a:gd name="T4" fmla="*/ 36 w 326"/>
              <a:gd name="T5" fmla="*/ 40 h 268"/>
              <a:gd name="T6" fmla="*/ 49 w 326"/>
              <a:gd name="T7" fmla="*/ 31 h 268"/>
              <a:gd name="T8" fmla="*/ 45 w 326"/>
              <a:gd name="T9" fmla="*/ 13 h 268"/>
              <a:gd name="T10" fmla="*/ 71 w 326"/>
              <a:gd name="T11" fmla="*/ 0 h 268"/>
              <a:gd name="T12" fmla="*/ 94 w 326"/>
              <a:gd name="T13" fmla="*/ 4 h 268"/>
              <a:gd name="T14" fmla="*/ 125 w 326"/>
              <a:gd name="T15" fmla="*/ 27 h 268"/>
              <a:gd name="T16" fmla="*/ 125 w 326"/>
              <a:gd name="T17" fmla="*/ 35 h 268"/>
              <a:gd name="T18" fmla="*/ 134 w 326"/>
              <a:gd name="T19" fmla="*/ 35 h 268"/>
              <a:gd name="T20" fmla="*/ 134 w 326"/>
              <a:gd name="T21" fmla="*/ 49 h 268"/>
              <a:gd name="T22" fmla="*/ 147 w 326"/>
              <a:gd name="T23" fmla="*/ 53 h 268"/>
              <a:gd name="T24" fmla="*/ 174 w 326"/>
              <a:gd name="T25" fmla="*/ 53 h 268"/>
              <a:gd name="T26" fmla="*/ 187 w 326"/>
              <a:gd name="T27" fmla="*/ 58 h 268"/>
              <a:gd name="T28" fmla="*/ 192 w 326"/>
              <a:gd name="T29" fmla="*/ 62 h 268"/>
              <a:gd name="T30" fmla="*/ 205 w 326"/>
              <a:gd name="T31" fmla="*/ 58 h 268"/>
              <a:gd name="T32" fmla="*/ 214 w 326"/>
              <a:gd name="T33" fmla="*/ 71 h 268"/>
              <a:gd name="T34" fmla="*/ 214 w 326"/>
              <a:gd name="T35" fmla="*/ 80 h 268"/>
              <a:gd name="T36" fmla="*/ 228 w 326"/>
              <a:gd name="T37" fmla="*/ 89 h 268"/>
              <a:gd name="T38" fmla="*/ 228 w 326"/>
              <a:gd name="T39" fmla="*/ 102 h 268"/>
              <a:gd name="T40" fmla="*/ 237 w 326"/>
              <a:gd name="T41" fmla="*/ 116 h 268"/>
              <a:gd name="T42" fmla="*/ 246 w 326"/>
              <a:gd name="T43" fmla="*/ 143 h 268"/>
              <a:gd name="T44" fmla="*/ 259 w 326"/>
              <a:gd name="T45" fmla="*/ 152 h 268"/>
              <a:gd name="T46" fmla="*/ 281 w 326"/>
              <a:gd name="T47" fmla="*/ 143 h 268"/>
              <a:gd name="T48" fmla="*/ 299 w 326"/>
              <a:gd name="T49" fmla="*/ 134 h 268"/>
              <a:gd name="T50" fmla="*/ 299 w 326"/>
              <a:gd name="T51" fmla="*/ 161 h 268"/>
              <a:gd name="T52" fmla="*/ 308 w 326"/>
              <a:gd name="T53" fmla="*/ 156 h 268"/>
              <a:gd name="T54" fmla="*/ 322 w 326"/>
              <a:gd name="T55" fmla="*/ 161 h 268"/>
              <a:gd name="T56" fmla="*/ 326 w 326"/>
              <a:gd name="T57" fmla="*/ 183 h 268"/>
              <a:gd name="T58" fmla="*/ 322 w 326"/>
              <a:gd name="T59" fmla="*/ 196 h 268"/>
              <a:gd name="T60" fmla="*/ 308 w 326"/>
              <a:gd name="T61" fmla="*/ 201 h 268"/>
              <a:gd name="T62" fmla="*/ 268 w 326"/>
              <a:gd name="T63" fmla="*/ 223 h 268"/>
              <a:gd name="T64" fmla="*/ 255 w 326"/>
              <a:gd name="T65" fmla="*/ 237 h 268"/>
              <a:gd name="T66" fmla="*/ 232 w 326"/>
              <a:gd name="T67" fmla="*/ 241 h 268"/>
              <a:gd name="T68" fmla="*/ 161 w 326"/>
              <a:gd name="T69" fmla="*/ 268 h 268"/>
              <a:gd name="T70" fmla="*/ 165 w 326"/>
              <a:gd name="T71" fmla="*/ 245 h 268"/>
              <a:gd name="T72" fmla="*/ 134 w 326"/>
              <a:gd name="T73" fmla="*/ 237 h 268"/>
              <a:gd name="T74" fmla="*/ 129 w 326"/>
              <a:gd name="T75" fmla="*/ 250 h 268"/>
              <a:gd name="T76" fmla="*/ 125 w 326"/>
              <a:gd name="T77" fmla="*/ 250 h 268"/>
              <a:gd name="T78" fmla="*/ 120 w 326"/>
              <a:gd name="T79" fmla="*/ 245 h 268"/>
              <a:gd name="T80" fmla="*/ 120 w 326"/>
              <a:gd name="T81" fmla="*/ 245 h 268"/>
              <a:gd name="T82" fmla="*/ 94 w 326"/>
              <a:gd name="T83" fmla="*/ 205 h 268"/>
              <a:gd name="T84" fmla="*/ 89 w 326"/>
              <a:gd name="T85" fmla="*/ 196 h 268"/>
              <a:gd name="T86" fmla="*/ 80 w 326"/>
              <a:gd name="T87" fmla="*/ 192 h 268"/>
              <a:gd name="T88" fmla="*/ 67 w 326"/>
              <a:gd name="T89" fmla="*/ 178 h 268"/>
              <a:gd name="T90" fmla="*/ 67 w 326"/>
              <a:gd name="T91" fmla="*/ 170 h 268"/>
              <a:gd name="T92" fmla="*/ 62 w 326"/>
              <a:gd name="T93" fmla="*/ 165 h 268"/>
              <a:gd name="T94" fmla="*/ 62 w 326"/>
              <a:gd name="T95" fmla="*/ 161 h 268"/>
              <a:gd name="T96" fmla="*/ 67 w 326"/>
              <a:gd name="T97" fmla="*/ 165 h 268"/>
              <a:gd name="T98" fmla="*/ 67 w 326"/>
              <a:gd name="T99" fmla="*/ 156 h 268"/>
              <a:gd name="T100" fmla="*/ 62 w 326"/>
              <a:gd name="T101" fmla="*/ 152 h 268"/>
              <a:gd name="T102" fmla="*/ 58 w 326"/>
              <a:gd name="T103" fmla="*/ 138 h 268"/>
              <a:gd name="T104" fmla="*/ 49 w 326"/>
              <a:gd name="T105" fmla="*/ 129 h 268"/>
              <a:gd name="T106" fmla="*/ 40 w 326"/>
              <a:gd name="T107" fmla="*/ 125 h 268"/>
              <a:gd name="T108" fmla="*/ 36 w 326"/>
              <a:gd name="T109" fmla="*/ 116 h 268"/>
              <a:gd name="T110" fmla="*/ 40 w 326"/>
              <a:gd name="T111" fmla="*/ 116 h 268"/>
              <a:gd name="T112" fmla="*/ 36 w 326"/>
              <a:gd name="T113" fmla="*/ 107 h 268"/>
              <a:gd name="T114" fmla="*/ 27 w 326"/>
              <a:gd name="T115" fmla="*/ 98 h 268"/>
              <a:gd name="T116" fmla="*/ 9 w 326"/>
              <a:gd name="T117" fmla="*/ 67 h 268"/>
              <a:gd name="T118" fmla="*/ 0 w 326"/>
              <a:gd name="T119" fmla="*/ 67 h 268"/>
              <a:gd name="T120" fmla="*/ 0 w 326"/>
              <a:gd name="T121" fmla="*/ 62 h 268"/>
              <a:gd name="T122" fmla="*/ 9 w 326"/>
              <a:gd name="T123" fmla="*/ 49 h 26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26"/>
              <a:gd name="T187" fmla="*/ 0 h 268"/>
              <a:gd name="T188" fmla="*/ 326 w 326"/>
              <a:gd name="T189" fmla="*/ 268 h 26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26" h="268">
                <a:moveTo>
                  <a:pt x="9" y="49"/>
                </a:moveTo>
                <a:lnTo>
                  <a:pt x="31" y="49"/>
                </a:lnTo>
                <a:lnTo>
                  <a:pt x="36" y="40"/>
                </a:lnTo>
                <a:lnTo>
                  <a:pt x="49" y="31"/>
                </a:lnTo>
                <a:lnTo>
                  <a:pt x="45" y="13"/>
                </a:lnTo>
                <a:lnTo>
                  <a:pt x="71" y="0"/>
                </a:lnTo>
                <a:lnTo>
                  <a:pt x="94" y="4"/>
                </a:lnTo>
                <a:lnTo>
                  <a:pt x="125" y="27"/>
                </a:lnTo>
                <a:lnTo>
                  <a:pt x="125" y="35"/>
                </a:lnTo>
                <a:lnTo>
                  <a:pt x="134" y="35"/>
                </a:lnTo>
                <a:lnTo>
                  <a:pt x="134" y="49"/>
                </a:lnTo>
                <a:lnTo>
                  <a:pt x="147" y="53"/>
                </a:lnTo>
                <a:lnTo>
                  <a:pt x="174" y="53"/>
                </a:lnTo>
                <a:lnTo>
                  <a:pt x="187" y="58"/>
                </a:lnTo>
                <a:lnTo>
                  <a:pt x="192" y="62"/>
                </a:lnTo>
                <a:lnTo>
                  <a:pt x="205" y="58"/>
                </a:lnTo>
                <a:lnTo>
                  <a:pt x="214" y="71"/>
                </a:lnTo>
                <a:lnTo>
                  <a:pt x="214" y="80"/>
                </a:lnTo>
                <a:lnTo>
                  <a:pt x="228" y="89"/>
                </a:lnTo>
                <a:lnTo>
                  <a:pt x="228" y="102"/>
                </a:lnTo>
                <a:lnTo>
                  <a:pt x="237" y="116"/>
                </a:lnTo>
                <a:lnTo>
                  <a:pt x="246" y="143"/>
                </a:lnTo>
                <a:lnTo>
                  <a:pt x="259" y="152"/>
                </a:lnTo>
                <a:lnTo>
                  <a:pt x="281" y="143"/>
                </a:lnTo>
                <a:lnTo>
                  <a:pt x="299" y="134"/>
                </a:lnTo>
                <a:lnTo>
                  <a:pt x="299" y="161"/>
                </a:lnTo>
                <a:lnTo>
                  <a:pt x="308" y="156"/>
                </a:lnTo>
                <a:lnTo>
                  <a:pt x="322" y="161"/>
                </a:lnTo>
                <a:lnTo>
                  <a:pt x="326" y="183"/>
                </a:lnTo>
                <a:lnTo>
                  <a:pt x="322" y="196"/>
                </a:lnTo>
                <a:lnTo>
                  <a:pt x="308" y="201"/>
                </a:lnTo>
                <a:lnTo>
                  <a:pt x="268" y="223"/>
                </a:lnTo>
                <a:lnTo>
                  <a:pt x="255" y="237"/>
                </a:lnTo>
                <a:lnTo>
                  <a:pt x="232" y="241"/>
                </a:lnTo>
                <a:lnTo>
                  <a:pt x="161" y="268"/>
                </a:lnTo>
                <a:lnTo>
                  <a:pt x="165" y="245"/>
                </a:lnTo>
                <a:lnTo>
                  <a:pt x="134" y="237"/>
                </a:lnTo>
                <a:lnTo>
                  <a:pt x="129" y="250"/>
                </a:lnTo>
                <a:lnTo>
                  <a:pt x="125" y="250"/>
                </a:lnTo>
                <a:lnTo>
                  <a:pt x="120" y="245"/>
                </a:lnTo>
                <a:lnTo>
                  <a:pt x="94" y="205"/>
                </a:lnTo>
                <a:lnTo>
                  <a:pt x="89" y="196"/>
                </a:lnTo>
                <a:lnTo>
                  <a:pt x="80" y="192"/>
                </a:lnTo>
                <a:lnTo>
                  <a:pt x="67" y="178"/>
                </a:lnTo>
                <a:lnTo>
                  <a:pt x="67" y="170"/>
                </a:lnTo>
                <a:lnTo>
                  <a:pt x="62" y="165"/>
                </a:lnTo>
                <a:lnTo>
                  <a:pt x="62" y="161"/>
                </a:lnTo>
                <a:lnTo>
                  <a:pt x="67" y="165"/>
                </a:lnTo>
                <a:lnTo>
                  <a:pt x="67" y="156"/>
                </a:lnTo>
                <a:lnTo>
                  <a:pt x="62" y="152"/>
                </a:lnTo>
                <a:lnTo>
                  <a:pt x="58" y="138"/>
                </a:lnTo>
                <a:lnTo>
                  <a:pt x="49" y="129"/>
                </a:lnTo>
                <a:lnTo>
                  <a:pt x="40" y="125"/>
                </a:lnTo>
                <a:lnTo>
                  <a:pt x="36" y="116"/>
                </a:lnTo>
                <a:lnTo>
                  <a:pt x="40" y="116"/>
                </a:lnTo>
                <a:lnTo>
                  <a:pt x="36" y="107"/>
                </a:lnTo>
                <a:lnTo>
                  <a:pt x="27" y="98"/>
                </a:lnTo>
                <a:lnTo>
                  <a:pt x="9" y="67"/>
                </a:lnTo>
                <a:lnTo>
                  <a:pt x="0" y="67"/>
                </a:lnTo>
                <a:lnTo>
                  <a:pt x="0" y="62"/>
                </a:lnTo>
                <a:lnTo>
                  <a:pt x="9" y="49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1" name="Freeform 182"/>
          <p:cNvSpPr>
            <a:spLocks/>
          </p:cNvSpPr>
          <p:nvPr/>
        </p:nvSpPr>
        <p:spPr bwMode="gray">
          <a:xfrm>
            <a:off x="3455734" y="5061375"/>
            <a:ext cx="10952" cy="10962"/>
          </a:xfrm>
          <a:custGeom>
            <a:avLst/>
            <a:gdLst>
              <a:gd name="T0" fmla="*/ 0 w 8"/>
              <a:gd name="T1" fmla="*/ 4 h 9"/>
              <a:gd name="T2" fmla="*/ 4 w 8"/>
              <a:gd name="T3" fmla="*/ 0 h 9"/>
              <a:gd name="T4" fmla="*/ 8 w 8"/>
              <a:gd name="T5" fmla="*/ 4 h 9"/>
              <a:gd name="T6" fmla="*/ 4 w 8"/>
              <a:gd name="T7" fmla="*/ 9 h 9"/>
              <a:gd name="T8" fmla="*/ 0 w 8"/>
              <a:gd name="T9" fmla="*/ 4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9"/>
              <a:gd name="T17" fmla="*/ 8 w 8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9">
                <a:moveTo>
                  <a:pt x="0" y="4"/>
                </a:moveTo>
                <a:lnTo>
                  <a:pt x="4" y="0"/>
                </a:lnTo>
                <a:lnTo>
                  <a:pt x="8" y="4"/>
                </a:lnTo>
                <a:lnTo>
                  <a:pt x="4" y="9"/>
                </a:lnTo>
                <a:lnTo>
                  <a:pt x="0" y="4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2" name="Freeform 183"/>
          <p:cNvSpPr>
            <a:spLocks/>
          </p:cNvSpPr>
          <p:nvPr/>
        </p:nvSpPr>
        <p:spPr bwMode="gray">
          <a:xfrm>
            <a:off x="3424248" y="4669196"/>
            <a:ext cx="146479" cy="272820"/>
          </a:xfrm>
          <a:custGeom>
            <a:avLst/>
            <a:gdLst>
              <a:gd name="T0" fmla="*/ 0 w 107"/>
              <a:gd name="T1" fmla="*/ 14 h 224"/>
              <a:gd name="T2" fmla="*/ 5 w 107"/>
              <a:gd name="T3" fmla="*/ 9 h 224"/>
              <a:gd name="T4" fmla="*/ 27 w 107"/>
              <a:gd name="T5" fmla="*/ 9 h 224"/>
              <a:gd name="T6" fmla="*/ 36 w 107"/>
              <a:gd name="T7" fmla="*/ 5 h 224"/>
              <a:gd name="T8" fmla="*/ 49 w 107"/>
              <a:gd name="T9" fmla="*/ 0 h 224"/>
              <a:gd name="T10" fmla="*/ 67 w 107"/>
              <a:gd name="T11" fmla="*/ 9 h 224"/>
              <a:gd name="T12" fmla="*/ 63 w 107"/>
              <a:gd name="T13" fmla="*/ 18 h 224"/>
              <a:gd name="T14" fmla="*/ 81 w 107"/>
              <a:gd name="T15" fmla="*/ 18 h 224"/>
              <a:gd name="T16" fmla="*/ 81 w 107"/>
              <a:gd name="T17" fmla="*/ 23 h 224"/>
              <a:gd name="T18" fmla="*/ 76 w 107"/>
              <a:gd name="T19" fmla="*/ 31 h 224"/>
              <a:gd name="T20" fmla="*/ 76 w 107"/>
              <a:gd name="T21" fmla="*/ 36 h 224"/>
              <a:gd name="T22" fmla="*/ 67 w 107"/>
              <a:gd name="T23" fmla="*/ 36 h 224"/>
              <a:gd name="T24" fmla="*/ 67 w 107"/>
              <a:gd name="T25" fmla="*/ 40 h 224"/>
              <a:gd name="T26" fmla="*/ 54 w 107"/>
              <a:gd name="T27" fmla="*/ 49 h 224"/>
              <a:gd name="T28" fmla="*/ 49 w 107"/>
              <a:gd name="T29" fmla="*/ 67 h 224"/>
              <a:gd name="T30" fmla="*/ 63 w 107"/>
              <a:gd name="T31" fmla="*/ 76 h 224"/>
              <a:gd name="T32" fmla="*/ 67 w 107"/>
              <a:gd name="T33" fmla="*/ 94 h 224"/>
              <a:gd name="T34" fmla="*/ 98 w 107"/>
              <a:gd name="T35" fmla="*/ 125 h 224"/>
              <a:gd name="T36" fmla="*/ 107 w 107"/>
              <a:gd name="T37" fmla="*/ 161 h 224"/>
              <a:gd name="T38" fmla="*/ 107 w 107"/>
              <a:gd name="T39" fmla="*/ 166 h 224"/>
              <a:gd name="T40" fmla="*/ 107 w 107"/>
              <a:gd name="T41" fmla="*/ 170 h 224"/>
              <a:gd name="T42" fmla="*/ 103 w 107"/>
              <a:gd name="T43" fmla="*/ 188 h 224"/>
              <a:gd name="T44" fmla="*/ 90 w 107"/>
              <a:gd name="T45" fmla="*/ 188 h 224"/>
              <a:gd name="T46" fmla="*/ 81 w 107"/>
              <a:gd name="T47" fmla="*/ 197 h 224"/>
              <a:gd name="T48" fmla="*/ 72 w 107"/>
              <a:gd name="T49" fmla="*/ 197 h 224"/>
              <a:gd name="T50" fmla="*/ 67 w 107"/>
              <a:gd name="T51" fmla="*/ 197 h 224"/>
              <a:gd name="T52" fmla="*/ 67 w 107"/>
              <a:gd name="T53" fmla="*/ 210 h 224"/>
              <a:gd name="T54" fmla="*/ 58 w 107"/>
              <a:gd name="T55" fmla="*/ 206 h 224"/>
              <a:gd name="T56" fmla="*/ 58 w 107"/>
              <a:gd name="T57" fmla="*/ 210 h 224"/>
              <a:gd name="T58" fmla="*/ 49 w 107"/>
              <a:gd name="T59" fmla="*/ 215 h 224"/>
              <a:gd name="T60" fmla="*/ 45 w 107"/>
              <a:gd name="T61" fmla="*/ 224 h 224"/>
              <a:gd name="T62" fmla="*/ 36 w 107"/>
              <a:gd name="T63" fmla="*/ 224 h 224"/>
              <a:gd name="T64" fmla="*/ 40 w 107"/>
              <a:gd name="T65" fmla="*/ 224 h 224"/>
              <a:gd name="T66" fmla="*/ 40 w 107"/>
              <a:gd name="T67" fmla="*/ 210 h 224"/>
              <a:gd name="T68" fmla="*/ 45 w 107"/>
              <a:gd name="T69" fmla="*/ 206 h 224"/>
              <a:gd name="T70" fmla="*/ 36 w 107"/>
              <a:gd name="T71" fmla="*/ 197 h 224"/>
              <a:gd name="T72" fmla="*/ 45 w 107"/>
              <a:gd name="T73" fmla="*/ 183 h 224"/>
              <a:gd name="T74" fmla="*/ 58 w 107"/>
              <a:gd name="T75" fmla="*/ 183 h 224"/>
              <a:gd name="T76" fmla="*/ 58 w 107"/>
              <a:gd name="T77" fmla="*/ 174 h 224"/>
              <a:gd name="T78" fmla="*/ 67 w 107"/>
              <a:gd name="T79" fmla="*/ 174 h 224"/>
              <a:gd name="T80" fmla="*/ 76 w 107"/>
              <a:gd name="T81" fmla="*/ 166 h 224"/>
              <a:gd name="T82" fmla="*/ 76 w 107"/>
              <a:gd name="T83" fmla="*/ 139 h 224"/>
              <a:gd name="T84" fmla="*/ 72 w 107"/>
              <a:gd name="T85" fmla="*/ 134 h 224"/>
              <a:gd name="T86" fmla="*/ 67 w 107"/>
              <a:gd name="T87" fmla="*/ 107 h 224"/>
              <a:gd name="T88" fmla="*/ 58 w 107"/>
              <a:gd name="T89" fmla="*/ 103 h 224"/>
              <a:gd name="T90" fmla="*/ 40 w 107"/>
              <a:gd name="T91" fmla="*/ 72 h 224"/>
              <a:gd name="T92" fmla="*/ 27 w 107"/>
              <a:gd name="T93" fmla="*/ 63 h 224"/>
              <a:gd name="T94" fmla="*/ 27 w 107"/>
              <a:gd name="T95" fmla="*/ 49 h 224"/>
              <a:gd name="T96" fmla="*/ 31 w 107"/>
              <a:gd name="T97" fmla="*/ 54 h 224"/>
              <a:gd name="T98" fmla="*/ 36 w 107"/>
              <a:gd name="T99" fmla="*/ 45 h 224"/>
              <a:gd name="T100" fmla="*/ 27 w 107"/>
              <a:gd name="T101" fmla="*/ 36 h 224"/>
              <a:gd name="T102" fmla="*/ 14 w 107"/>
              <a:gd name="T103" fmla="*/ 36 h 224"/>
              <a:gd name="T104" fmla="*/ 9 w 107"/>
              <a:gd name="T105" fmla="*/ 23 h 224"/>
              <a:gd name="T106" fmla="*/ 0 w 107"/>
              <a:gd name="T107" fmla="*/ 14 h 22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7"/>
              <a:gd name="T163" fmla="*/ 0 h 224"/>
              <a:gd name="T164" fmla="*/ 107 w 107"/>
              <a:gd name="T165" fmla="*/ 224 h 22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7" h="224">
                <a:moveTo>
                  <a:pt x="0" y="14"/>
                </a:moveTo>
                <a:lnTo>
                  <a:pt x="5" y="9"/>
                </a:lnTo>
                <a:lnTo>
                  <a:pt x="27" y="9"/>
                </a:lnTo>
                <a:lnTo>
                  <a:pt x="36" y="5"/>
                </a:lnTo>
                <a:lnTo>
                  <a:pt x="49" y="0"/>
                </a:lnTo>
                <a:lnTo>
                  <a:pt x="67" y="9"/>
                </a:lnTo>
                <a:lnTo>
                  <a:pt x="63" y="18"/>
                </a:lnTo>
                <a:lnTo>
                  <a:pt x="81" y="18"/>
                </a:lnTo>
                <a:lnTo>
                  <a:pt x="81" y="23"/>
                </a:lnTo>
                <a:lnTo>
                  <a:pt x="76" y="31"/>
                </a:lnTo>
                <a:lnTo>
                  <a:pt x="76" y="36"/>
                </a:lnTo>
                <a:lnTo>
                  <a:pt x="67" y="36"/>
                </a:lnTo>
                <a:lnTo>
                  <a:pt x="67" y="40"/>
                </a:lnTo>
                <a:lnTo>
                  <a:pt x="54" y="49"/>
                </a:lnTo>
                <a:lnTo>
                  <a:pt x="49" y="67"/>
                </a:lnTo>
                <a:lnTo>
                  <a:pt x="63" y="76"/>
                </a:lnTo>
                <a:lnTo>
                  <a:pt x="67" y="94"/>
                </a:lnTo>
                <a:lnTo>
                  <a:pt x="98" y="125"/>
                </a:lnTo>
                <a:lnTo>
                  <a:pt x="107" y="161"/>
                </a:lnTo>
                <a:lnTo>
                  <a:pt x="107" y="166"/>
                </a:lnTo>
                <a:lnTo>
                  <a:pt x="107" y="170"/>
                </a:lnTo>
                <a:lnTo>
                  <a:pt x="103" y="188"/>
                </a:lnTo>
                <a:lnTo>
                  <a:pt x="90" y="188"/>
                </a:lnTo>
                <a:lnTo>
                  <a:pt x="81" y="197"/>
                </a:lnTo>
                <a:lnTo>
                  <a:pt x="72" y="197"/>
                </a:lnTo>
                <a:lnTo>
                  <a:pt x="67" y="197"/>
                </a:lnTo>
                <a:lnTo>
                  <a:pt x="67" y="210"/>
                </a:lnTo>
                <a:lnTo>
                  <a:pt x="58" y="206"/>
                </a:lnTo>
                <a:lnTo>
                  <a:pt x="58" y="210"/>
                </a:lnTo>
                <a:lnTo>
                  <a:pt x="49" y="215"/>
                </a:lnTo>
                <a:lnTo>
                  <a:pt x="45" y="224"/>
                </a:lnTo>
                <a:lnTo>
                  <a:pt x="36" y="224"/>
                </a:lnTo>
                <a:lnTo>
                  <a:pt x="40" y="224"/>
                </a:lnTo>
                <a:lnTo>
                  <a:pt x="40" y="210"/>
                </a:lnTo>
                <a:lnTo>
                  <a:pt x="45" y="206"/>
                </a:lnTo>
                <a:lnTo>
                  <a:pt x="36" y="197"/>
                </a:lnTo>
                <a:lnTo>
                  <a:pt x="45" y="183"/>
                </a:lnTo>
                <a:lnTo>
                  <a:pt x="58" y="183"/>
                </a:lnTo>
                <a:lnTo>
                  <a:pt x="58" y="174"/>
                </a:lnTo>
                <a:lnTo>
                  <a:pt x="67" y="174"/>
                </a:lnTo>
                <a:lnTo>
                  <a:pt x="76" y="166"/>
                </a:lnTo>
                <a:lnTo>
                  <a:pt x="76" y="139"/>
                </a:lnTo>
                <a:lnTo>
                  <a:pt x="72" y="134"/>
                </a:lnTo>
                <a:lnTo>
                  <a:pt x="67" y="107"/>
                </a:lnTo>
                <a:lnTo>
                  <a:pt x="58" y="103"/>
                </a:lnTo>
                <a:lnTo>
                  <a:pt x="40" y="72"/>
                </a:lnTo>
                <a:lnTo>
                  <a:pt x="27" y="63"/>
                </a:lnTo>
                <a:lnTo>
                  <a:pt x="27" y="49"/>
                </a:lnTo>
                <a:lnTo>
                  <a:pt x="31" y="54"/>
                </a:lnTo>
                <a:lnTo>
                  <a:pt x="36" y="45"/>
                </a:lnTo>
                <a:lnTo>
                  <a:pt x="27" y="36"/>
                </a:lnTo>
                <a:lnTo>
                  <a:pt x="14" y="36"/>
                </a:lnTo>
                <a:lnTo>
                  <a:pt x="9" y="23"/>
                </a:lnTo>
                <a:lnTo>
                  <a:pt x="0" y="14"/>
                </a:lnTo>
                <a:close/>
              </a:path>
            </a:pathLst>
          </a:custGeom>
          <a:solidFill>
            <a:schemeClr val="accent1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3" name="Freeform 184"/>
          <p:cNvSpPr>
            <a:spLocks/>
          </p:cNvSpPr>
          <p:nvPr/>
        </p:nvSpPr>
        <p:spPr bwMode="gray">
          <a:xfrm>
            <a:off x="2122368" y="4380543"/>
            <a:ext cx="139634" cy="109615"/>
          </a:xfrm>
          <a:custGeom>
            <a:avLst/>
            <a:gdLst>
              <a:gd name="T0" fmla="*/ 0 w 102"/>
              <a:gd name="T1" fmla="*/ 27 h 90"/>
              <a:gd name="T2" fmla="*/ 0 w 102"/>
              <a:gd name="T3" fmla="*/ 36 h 90"/>
              <a:gd name="T4" fmla="*/ 4 w 102"/>
              <a:gd name="T5" fmla="*/ 41 h 90"/>
              <a:gd name="T6" fmla="*/ 0 w 102"/>
              <a:gd name="T7" fmla="*/ 45 h 90"/>
              <a:gd name="T8" fmla="*/ 9 w 102"/>
              <a:gd name="T9" fmla="*/ 45 h 90"/>
              <a:gd name="T10" fmla="*/ 13 w 102"/>
              <a:gd name="T11" fmla="*/ 54 h 90"/>
              <a:gd name="T12" fmla="*/ 4 w 102"/>
              <a:gd name="T13" fmla="*/ 67 h 90"/>
              <a:gd name="T14" fmla="*/ 4 w 102"/>
              <a:gd name="T15" fmla="*/ 81 h 90"/>
              <a:gd name="T16" fmla="*/ 18 w 102"/>
              <a:gd name="T17" fmla="*/ 90 h 90"/>
              <a:gd name="T18" fmla="*/ 35 w 102"/>
              <a:gd name="T19" fmla="*/ 76 h 90"/>
              <a:gd name="T20" fmla="*/ 40 w 102"/>
              <a:gd name="T21" fmla="*/ 72 h 90"/>
              <a:gd name="T22" fmla="*/ 44 w 102"/>
              <a:gd name="T23" fmla="*/ 72 h 90"/>
              <a:gd name="T24" fmla="*/ 80 w 102"/>
              <a:gd name="T25" fmla="*/ 45 h 90"/>
              <a:gd name="T26" fmla="*/ 85 w 102"/>
              <a:gd name="T27" fmla="*/ 18 h 90"/>
              <a:gd name="T28" fmla="*/ 98 w 102"/>
              <a:gd name="T29" fmla="*/ 9 h 90"/>
              <a:gd name="T30" fmla="*/ 102 w 102"/>
              <a:gd name="T31" fmla="*/ 5 h 90"/>
              <a:gd name="T32" fmla="*/ 94 w 102"/>
              <a:gd name="T33" fmla="*/ 0 h 90"/>
              <a:gd name="T34" fmla="*/ 71 w 102"/>
              <a:gd name="T35" fmla="*/ 5 h 90"/>
              <a:gd name="T36" fmla="*/ 58 w 102"/>
              <a:gd name="T37" fmla="*/ 9 h 90"/>
              <a:gd name="T38" fmla="*/ 40 w 102"/>
              <a:gd name="T39" fmla="*/ 5 h 90"/>
              <a:gd name="T40" fmla="*/ 18 w 102"/>
              <a:gd name="T41" fmla="*/ 9 h 90"/>
              <a:gd name="T42" fmla="*/ 18 w 102"/>
              <a:gd name="T43" fmla="*/ 18 h 90"/>
              <a:gd name="T44" fmla="*/ 9 w 102"/>
              <a:gd name="T45" fmla="*/ 27 h 90"/>
              <a:gd name="T46" fmla="*/ 0 w 102"/>
              <a:gd name="T47" fmla="*/ 27 h 9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2"/>
              <a:gd name="T73" fmla="*/ 0 h 90"/>
              <a:gd name="T74" fmla="*/ 102 w 102"/>
              <a:gd name="T75" fmla="*/ 90 h 9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2" h="90">
                <a:moveTo>
                  <a:pt x="0" y="27"/>
                </a:moveTo>
                <a:lnTo>
                  <a:pt x="0" y="36"/>
                </a:lnTo>
                <a:lnTo>
                  <a:pt x="4" y="41"/>
                </a:lnTo>
                <a:lnTo>
                  <a:pt x="0" y="45"/>
                </a:lnTo>
                <a:lnTo>
                  <a:pt x="9" y="45"/>
                </a:lnTo>
                <a:lnTo>
                  <a:pt x="13" y="54"/>
                </a:lnTo>
                <a:lnTo>
                  <a:pt x="4" y="67"/>
                </a:lnTo>
                <a:lnTo>
                  <a:pt x="4" y="81"/>
                </a:lnTo>
                <a:lnTo>
                  <a:pt x="18" y="90"/>
                </a:lnTo>
                <a:lnTo>
                  <a:pt x="35" y="76"/>
                </a:lnTo>
                <a:lnTo>
                  <a:pt x="40" y="72"/>
                </a:lnTo>
                <a:lnTo>
                  <a:pt x="44" y="72"/>
                </a:lnTo>
                <a:lnTo>
                  <a:pt x="80" y="45"/>
                </a:lnTo>
                <a:lnTo>
                  <a:pt x="85" y="18"/>
                </a:lnTo>
                <a:lnTo>
                  <a:pt x="98" y="9"/>
                </a:lnTo>
                <a:lnTo>
                  <a:pt x="102" y="5"/>
                </a:lnTo>
                <a:lnTo>
                  <a:pt x="94" y="0"/>
                </a:lnTo>
                <a:lnTo>
                  <a:pt x="71" y="5"/>
                </a:lnTo>
                <a:lnTo>
                  <a:pt x="58" y="9"/>
                </a:lnTo>
                <a:lnTo>
                  <a:pt x="40" y="5"/>
                </a:lnTo>
                <a:lnTo>
                  <a:pt x="18" y="9"/>
                </a:lnTo>
                <a:lnTo>
                  <a:pt x="18" y="18"/>
                </a:lnTo>
                <a:lnTo>
                  <a:pt x="9" y="27"/>
                </a:lnTo>
                <a:lnTo>
                  <a:pt x="0" y="27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4" name="Freeform 185"/>
          <p:cNvSpPr>
            <a:spLocks/>
          </p:cNvSpPr>
          <p:nvPr/>
        </p:nvSpPr>
        <p:spPr bwMode="gray">
          <a:xfrm>
            <a:off x="2745244" y="4287979"/>
            <a:ext cx="153323" cy="103525"/>
          </a:xfrm>
          <a:custGeom>
            <a:avLst/>
            <a:gdLst>
              <a:gd name="T0" fmla="*/ 54 w 112"/>
              <a:gd name="T1" fmla="*/ 18 h 85"/>
              <a:gd name="T2" fmla="*/ 50 w 112"/>
              <a:gd name="T3" fmla="*/ 18 h 85"/>
              <a:gd name="T4" fmla="*/ 45 w 112"/>
              <a:gd name="T5" fmla="*/ 18 h 85"/>
              <a:gd name="T6" fmla="*/ 45 w 112"/>
              <a:gd name="T7" fmla="*/ 9 h 85"/>
              <a:gd name="T8" fmla="*/ 45 w 112"/>
              <a:gd name="T9" fmla="*/ 9 h 85"/>
              <a:gd name="T10" fmla="*/ 45 w 112"/>
              <a:gd name="T11" fmla="*/ 0 h 85"/>
              <a:gd name="T12" fmla="*/ 41 w 112"/>
              <a:gd name="T13" fmla="*/ 0 h 85"/>
              <a:gd name="T14" fmla="*/ 41 w 112"/>
              <a:gd name="T15" fmla="*/ 5 h 85"/>
              <a:gd name="T16" fmla="*/ 27 w 112"/>
              <a:gd name="T17" fmla="*/ 5 h 85"/>
              <a:gd name="T18" fmla="*/ 32 w 112"/>
              <a:gd name="T19" fmla="*/ 9 h 85"/>
              <a:gd name="T20" fmla="*/ 23 w 112"/>
              <a:gd name="T21" fmla="*/ 18 h 85"/>
              <a:gd name="T22" fmla="*/ 9 w 112"/>
              <a:gd name="T23" fmla="*/ 27 h 85"/>
              <a:gd name="T24" fmla="*/ 9 w 112"/>
              <a:gd name="T25" fmla="*/ 27 h 85"/>
              <a:gd name="T26" fmla="*/ 5 w 112"/>
              <a:gd name="T27" fmla="*/ 32 h 85"/>
              <a:gd name="T28" fmla="*/ 0 w 112"/>
              <a:gd name="T29" fmla="*/ 36 h 85"/>
              <a:gd name="T30" fmla="*/ 5 w 112"/>
              <a:gd name="T31" fmla="*/ 41 h 85"/>
              <a:gd name="T32" fmla="*/ 5 w 112"/>
              <a:gd name="T33" fmla="*/ 41 h 85"/>
              <a:gd name="T34" fmla="*/ 9 w 112"/>
              <a:gd name="T35" fmla="*/ 45 h 85"/>
              <a:gd name="T36" fmla="*/ 14 w 112"/>
              <a:gd name="T37" fmla="*/ 45 h 85"/>
              <a:gd name="T38" fmla="*/ 9 w 112"/>
              <a:gd name="T39" fmla="*/ 54 h 85"/>
              <a:gd name="T40" fmla="*/ 14 w 112"/>
              <a:gd name="T41" fmla="*/ 58 h 85"/>
              <a:gd name="T42" fmla="*/ 9 w 112"/>
              <a:gd name="T43" fmla="*/ 67 h 85"/>
              <a:gd name="T44" fmla="*/ 5 w 112"/>
              <a:gd name="T45" fmla="*/ 76 h 85"/>
              <a:gd name="T46" fmla="*/ 9 w 112"/>
              <a:gd name="T47" fmla="*/ 76 h 85"/>
              <a:gd name="T48" fmla="*/ 23 w 112"/>
              <a:gd name="T49" fmla="*/ 72 h 85"/>
              <a:gd name="T50" fmla="*/ 36 w 112"/>
              <a:gd name="T51" fmla="*/ 67 h 85"/>
              <a:gd name="T52" fmla="*/ 41 w 112"/>
              <a:gd name="T53" fmla="*/ 67 h 85"/>
              <a:gd name="T54" fmla="*/ 54 w 112"/>
              <a:gd name="T55" fmla="*/ 50 h 85"/>
              <a:gd name="T56" fmla="*/ 58 w 112"/>
              <a:gd name="T57" fmla="*/ 54 h 85"/>
              <a:gd name="T58" fmla="*/ 63 w 112"/>
              <a:gd name="T59" fmla="*/ 67 h 85"/>
              <a:gd name="T60" fmla="*/ 58 w 112"/>
              <a:gd name="T61" fmla="*/ 85 h 85"/>
              <a:gd name="T62" fmla="*/ 81 w 112"/>
              <a:gd name="T63" fmla="*/ 72 h 85"/>
              <a:gd name="T64" fmla="*/ 108 w 112"/>
              <a:gd name="T65" fmla="*/ 76 h 85"/>
              <a:gd name="T66" fmla="*/ 112 w 112"/>
              <a:gd name="T67" fmla="*/ 72 h 85"/>
              <a:gd name="T68" fmla="*/ 112 w 112"/>
              <a:gd name="T69" fmla="*/ 67 h 85"/>
              <a:gd name="T70" fmla="*/ 108 w 112"/>
              <a:gd name="T71" fmla="*/ 67 h 85"/>
              <a:gd name="T72" fmla="*/ 108 w 112"/>
              <a:gd name="T73" fmla="*/ 54 h 85"/>
              <a:gd name="T74" fmla="*/ 90 w 112"/>
              <a:gd name="T75" fmla="*/ 50 h 85"/>
              <a:gd name="T76" fmla="*/ 90 w 112"/>
              <a:gd name="T77" fmla="*/ 32 h 85"/>
              <a:gd name="T78" fmla="*/ 81 w 112"/>
              <a:gd name="T79" fmla="*/ 32 h 85"/>
              <a:gd name="T80" fmla="*/ 76 w 112"/>
              <a:gd name="T81" fmla="*/ 36 h 85"/>
              <a:gd name="T82" fmla="*/ 63 w 112"/>
              <a:gd name="T83" fmla="*/ 36 h 85"/>
              <a:gd name="T84" fmla="*/ 63 w 112"/>
              <a:gd name="T85" fmla="*/ 32 h 85"/>
              <a:gd name="T86" fmla="*/ 58 w 112"/>
              <a:gd name="T87" fmla="*/ 32 h 85"/>
              <a:gd name="T88" fmla="*/ 54 w 112"/>
              <a:gd name="T89" fmla="*/ 36 h 85"/>
              <a:gd name="T90" fmla="*/ 50 w 112"/>
              <a:gd name="T91" fmla="*/ 32 h 85"/>
              <a:gd name="T92" fmla="*/ 45 w 112"/>
              <a:gd name="T93" fmla="*/ 32 h 85"/>
              <a:gd name="T94" fmla="*/ 41 w 112"/>
              <a:gd name="T95" fmla="*/ 32 h 85"/>
              <a:gd name="T96" fmla="*/ 27 w 112"/>
              <a:gd name="T97" fmla="*/ 32 h 85"/>
              <a:gd name="T98" fmla="*/ 27 w 112"/>
              <a:gd name="T99" fmla="*/ 27 h 85"/>
              <a:gd name="T100" fmla="*/ 32 w 112"/>
              <a:gd name="T101" fmla="*/ 23 h 85"/>
              <a:gd name="T102" fmla="*/ 32 w 112"/>
              <a:gd name="T103" fmla="*/ 18 h 85"/>
              <a:gd name="T104" fmla="*/ 41 w 112"/>
              <a:gd name="T105" fmla="*/ 18 h 85"/>
              <a:gd name="T106" fmla="*/ 45 w 112"/>
              <a:gd name="T107" fmla="*/ 23 h 85"/>
              <a:gd name="T108" fmla="*/ 45 w 112"/>
              <a:gd name="T109" fmla="*/ 27 h 85"/>
              <a:gd name="T110" fmla="*/ 50 w 112"/>
              <a:gd name="T111" fmla="*/ 27 h 85"/>
              <a:gd name="T112" fmla="*/ 50 w 112"/>
              <a:gd name="T113" fmla="*/ 23 h 85"/>
              <a:gd name="T114" fmla="*/ 54 w 112"/>
              <a:gd name="T115" fmla="*/ 18 h 8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12"/>
              <a:gd name="T175" fmla="*/ 0 h 85"/>
              <a:gd name="T176" fmla="*/ 112 w 112"/>
              <a:gd name="T177" fmla="*/ 85 h 8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12" h="85">
                <a:moveTo>
                  <a:pt x="54" y="18"/>
                </a:moveTo>
                <a:lnTo>
                  <a:pt x="50" y="18"/>
                </a:lnTo>
                <a:lnTo>
                  <a:pt x="45" y="18"/>
                </a:lnTo>
                <a:lnTo>
                  <a:pt x="45" y="9"/>
                </a:lnTo>
                <a:lnTo>
                  <a:pt x="45" y="0"/>
                </a:lnTo>
                <a:lnTo>
                  <a:pt x="41" y="0"/>
                </a:lnTo>
                <a:lnTo>
                  <a:pt x="41" y="5"/>
                </a:lnTo>
                <a:lnTo>
                  <a:pt x="27" y="5"/>
                </a:lnTo>
                <a:lnTo>
                  <a:pt x="32" y="9"/>
                </a:lnTo>
                <a:lnTo>
                  <a:pt x="23" y="18"/>
                </a:lnTo>
                <a:lnTo>
                  <a:pt x="9" y="27"/>
                </a:lnTo>
                <a:lnTo>
                  <a:pt x="5" y="32"/>
                </a:lnTo>
                <a:lnTo>
                  <a:pt x="0" y="36"/>
                </a:lnTo>
                <a:lnTo>
                  <a:pt x="5" y="41"/>
                </a:lnTo>
                <a:lnTo>
                  <a:pt x="9" y="45"/>
                </a:lnTo>
                <a:lnTo>
                  <a:pt x="14" y="45"/>
                </a:lnTo>
                <a:lnTo>
                  <a:pt x="9" y="54"/>
                </a:lnTo>
                <a:lnTo>
                  <a:pt x="14" y="58"/>
                </a:lnTo>
                <a:lnTo>
                  <a:pt x="9" y="67"/>
                </a:lnTo>
                <a:lnTo>
                  <a:pt x="5" y="76"/>
                </a:lnTo>
                <a:lnTo>
                  <a:pt x="9" y="76"/>
                </a:lnTo>
                <a:lnTo>
                  <a:pt x="23" y="72"/>
                </a:lnTo>
                <a:lnTo>
                  <a:pt x="36" y="67"/>
                </a:lnTo>
                <a:lnTo>
                  <a:pt x="41" y="67"/>
                </a:lnTo>
                <a:lnTo>
                  <a:pt x="54" y="50"/>
                </a:lnTo>
                <a:lnTo>
                  <a:pt x="58" y="54"/>
                </a:lnTo>
                <a:lnTo>
                  <a:pt x="63" y="67"/>
                </a:lnTo>
                <a:lnTo>
                  <a:pt x="58" y="85"/>
                </a:lnTo>
                <a:lnTo>
                  <a:pt x="81" y="72"/>
                </a:lnTo>
                <a:lnTo>
                  <a:pt x="108" y="76"/>
                </a:lnTo>
                <a:lnTo>
                  <a:pt x="112" y="72"/>
                </a:lnTo>
                <a:lnTo>
                  <a:pt x="112" y="67"/>
                </a:lnTo>
                <a:lnTo>
                  <a:pt x="108" y="67"/>
                </a:lnTo>
                <a:lnTo>
                  <a:pt x="108" y="54"/>
                </a:lnTo>
                <a:lnTo>
                  <a:pt x="90" y="50"/>
                </a:lnTo>
                <a:lnTo>
                  <a:pt x="90" y="32"/>
                </a:lnTo>
                <a:lnTo>
                  <a:pt x="81" y="32"/>
                </a:lnTo>
                <a:lnTo>
                  <a:pt x="76" y="36"/>
                </a:lnTo>
                <a:lnTo>
                  <a:pt x="63" y="36"/>
                </a:lnTo>
                <a:lnTo>
                  <a:pt x="63" y="32"/>
                </a:lnTo>
                <a:lnTo>
                  <a:pt x="58" y="32"/>
                </a:lnTo>
                <a:lnTo>
                  <a:pt x="54" y="36"/>
                </a:lnTo>
                <a:lnTo>
                  <a:pt x="50" y="32"/>
                </a:lnTo>
                <a:lnTo>
                  <a:pt x="45" y="32"/>
                </a:lnTo>
                <a:lnTo>
                  <a:pt x="41" y="32"/>
                </a:lnTo>
                <a:lnTo>
                  <a:pt x="27" y="32"/>
                </a:lnTo>
                <a:lnTo>
                  <a:pt x="27" y="27"/>
                </a:lnTo>
                <a:lnTo>
                  <a:pt x="32" y="23"/>
                </a:lnTo>
                <a:lnTo>
                  <a:pt x="32" y="18"/>
                </a:lnTo>
                <a:lnTo>
                  <a:pt x="41" y="18"/>
                </a:lnTo>
                <a:lnTo>
                  <a:pt x="45" y="23"/>
                </a:lnTo>
                <a:lnTo>
                  <a:pt x="45" y="27"/>
                </a:lnTo>
                <a:lnTo>
                  <a:pt x="50" y="27"/>
                </a:lnTo>
                <a:lnTo>
                  <a:pt x="50" y="23"/>
                </a:lnTo>
                <a:lnTo>
                  <a:pt x="54" y="18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5" name="Freeform 186"/>
          <p:cNvSpPr>
            <a:spLocks/>
          </p:cNvSpPr>
          <p:nvPr/>
        </p:nvSpPr>
        <p:spPr bwMode="gray">
          <a:xfrm>
            <a:off x="3332528" y="4724003"/>
            <a:ext cx="158799" cy="266730"/>
          </a:xfrm>
          <a:custGeom>
            <a:avLst/>
            <a:gdLst>
              <a:gd name="T0" fmla="*/ 18 w 116"/>
              <a:gd name="T1" fmla="*/ 156 h 219"/>
              <a:gd name="T2" fmla="*/ 23 w 116"/>
              <a:gd name="T3" fmla="*/ 147 h 219"/>
              <a:gd name="T4" fmla="*/ 27 w 116"/>
              <a:gd name="T5" fmla="*/ 143 h 219"/>
              <a:gd name="T6" fmla="*/ 31 w 116"/>
              <a:gd name="T7" fmla="*/ 134 h 219"/>
              <a:gd name="T8" fmla="*/ 27 w 116"/>
              <a:gd name="T9" fmla="*/ 121 h 219"/>
              <a:gd name="T10" fmla="*/ 31 w 116"/>
              <a:gd name="T11" fmla="*/ 103 h 219"/>
              <a:gd name="T12" fmla="*/ 14 w 116"/>
              <a:gd name="T13" fmla="*/ 85 h 219"/>
              <a:gd name="T14" fmla="*/ 9 w 116"/>
              <a:gd name="T15" fmla="*/ 80 h 219"/>
              <a:gd name="T16" fmla="*/ 18 w 116"/>
              <a:gd name="T17" fmla="*/ 71 h 219"/>
              <a:gd name="T18" fmla="*/ 14 w 116"/>
              <a:gd name="T19" fmla="*/ 58 h 219"/>
              <a:gd name="T20" fmla="*/ 5 w 116"/>
              <a:gd name="T21" fmla="*/ 49 h 219"/>
              <a:gd name="T22" fmla="*/ 5 w 116"/>
              <a:gd name="T23" fmla="*/ 36 h 219"/>
              <a:gd name="T24" fmla="*/ 0 w 116"/>
              <a:gd name="T25" fmla="*/ 31 h 219"/>
              <a:gd name="T26" fmla="*/ 9 w 116"/>
              <a:gd name="T27" fmla="*/ 13 h 219"/>
              <a:gd name="T28" fmla="*/ 18 w 116"/>
              <a:gd name="T29" fmla="*/ 9 h 219"/>
              <a:gd name="T30" fmla="*/ 31 w 116"/>
              <a:gd name="T31" fmla="*/ 0 h 219"/>
              <a:gd name="T32" fmla="*/ 40 w 116"/>
              <a:gd name="T33" fmla="*/ 0 h 219"/>
              <a:gd name="T34" fmla="*/ 49 w 116"/>
              <a:gd name="T35" fmla="*/ 4 h 219"/>
              <a:gd name="T36" fmla="*/ 45 w 116"/>
              <a:gd name="T37" fmla="*/ 9 h 219"/>
              <a:gd name="T38" fmla="*/ 54 w 116"/>
              <a:gd name="T39" fmla="*/ 13 h 219"/>
              <a:gd name="T40" fmla="*/ 54 w 116"/>
              <a:gd name="T41" fmla="*/ 49 h 219"/>
              <a:gd name="T42" fmla="*/ 67 w 116"/>
              <a:gd name="T43" fmla="*/ 36 h 219"/>
              <a:gd name="T44" fmla="*/ 76 w 116"/>
              <a:gd name="T45" fmla="*/ 40 h 219"/>
              <a:gd name="T46" fmla="*/ 85 w 116"/>
              <a:gd name="T47" fmla="*/ 31 h 219"/>
              <a:gd name="T48" fmla="*/ 94 w 116"/>
              <a:gd name="T49" fmla="*/ 31 h 219"/>
              <a:gd name="T50" fmla="*/ 103 w 116"/>
              <a:gd name="T51" fmla="*/ 58 h 219"/>
              <a:gd name="T52" fmla="*/ 116 w 116"/>
              <a:gd name="T53" fmla="*/ 71 h 219"/>
              <a:gd name="T54" fmla="*/ 107 w 116"/>
              <a:gd name="T55" fmla="*/ 89 h 219"/>
              <a:gd name="T56" fmla="*/ 81 w 116"/>
              <a:gd name="T57" fmla="*/ 94 h 219"/>
              <a:gd name="T58" fmla="*/ 72 w 116"/>
              <a:gd name="T59" fmla="*/ 107 h 219"/>
              <a:gd name="T60" fmla="*/ 81 w 116"/>
              <a:gd name="T61" fmla="*/ 125 h 219"/>
              <a:gd name="T62" fmla="*/ 81 w 116"/>
              <a:gd name="T63" fmla="*/ 134 h 219"/>
              <a:gd name="T64" fmla="*/ 72 w 116"/>
              <a:gd name="T65" fmla="*/ 129 h 219"/>
              <a:gd name="T66" fmla="*/ 63 w 116"/>
              <a:gd name="T67" fmla="*/ 121 h 219"/>
              <a:gd name="T68" fmla="*/ 49 w 116"/>
              <a:gd name="T69" fmla="*/ 121 h 219"/>
              <a:gd name="T70" fmla="*/ 49 w 116"/>
              <a:gd name="T71" fmla="*/ 107 h 219"/>
              <a:gd name="T72" fmla="*/ 40 w 116"/>
              <a:gd name="T73" fmla="*/ 107 h 219"/>
              <a:gd name="T74" fmla="*/ 40 w 116"/>
              <a:gd name="T75" fmla="*/ 125 h 219"/>
              <a:gd name="T76" fmla="*/ 31 w 116"/>
              <a:gd name="T77" fmla="*/ 138 h 219"/>
              <a:gd name="T78" fmla="*/ 27 w 116"/>
              <a:gd name="T79" fmla="*/ 170 h 219"/>
              <a:gd name="T80" fmla="*/ 36 w 116"/>
              <a:gd name="T81" fmla="*/ 170 h 219"/>
              <a:gd name="T82" fmla="*/ 45 w 116"/>
              <a:gd name="T83" fmla="*/ 183 h 219"/>
              <a:gd name="T84" fmla="*/ 49 w 116"/>
              <a:gd name="T85" fmla="*/ 196 h 219"/>
              <a:gd name="T86" fmla="*/ 58 w 116"/>
              <a:gd name="T87" fmla="*/ 201 h 219"/>
              <a:gd name="T88" fmla="*/ 67 w 116"/>
              <a:gd name="T89" fmla="*/ 210 h 219"/>
              <a:gd name="T90" fmla="*/ 63 w 116"/>
              <a:gd name="T91" fmla="*/ 219 h 219"/>
              <a:gd name="T92" fmla="*/ 54 w 116"/>
              <a:gd name="T93" fmla="*/ 219 h 219"/>
              <a:gd name="T94" fmla="*/ 45 w 116"/>
              <a:gd name="T95" fmla="*/ 205 h 219"/>
              <a:gd name="T96" fmla="*/ 40 w 116"/>
              <a:gd name="T97" fmla="*/ 210 h 219"/>
              <a:gd name="T98" fmla="*/ 31 w 116"/>
              <a:gd name="T99" fmla="*/ 205 h 219"/>
              <a:gd name="T100" fmla="*/ 27 w 116"/>
              <a:gd name="T101" fmla="*/ 196 h 219"/>
              <a:gd name="T102" fmla="*/ 23 w 116"/>
              <a:gd name="T103" fmla="*/ 201 h 219"/>
              <a:gd name="T104" fmla="*/ 18 w 116"/>
              <a:gd name="T105" fmla="*/ 196 h 219"/>
              <a:gd name="T106" fmla="*/ 23 w 116"/>
              <a:gd name="T107" fmla="*/ 192 h 219"/>
              <a:gd name="T108" fmla="*/ 18 w 116"/>
              <a:gd name="T109" fmla="*/ 188 h 219"/>
              <a:gd name="T110" fmla="*/ 14 w 116"/>
              <a:gd name="T111" fmla="*/ 192 h 219"/>
              <a:gd name="T112" fmla="*/ 9 w 116"/>
              <a:gd name="T113" fmla="*/ 183 h 219"/>
              <a:gd name="T114" fmla="*/ 14 w 116"/>
              <a:gd name="T115" fmla="*/ 170 h 219"/>
              <a:gd name="T116" fmla="*/ 18 w 116"/>
              <a:gd name="T117" fmla="*/ 156 h 21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6"/>
              <a:gd name="T178" fmla="*/ 0 h 219"/>
              <a:gd name="T179" fmla="*/ 116 w 116"/>
              <a:gd name="T180" fmla="*/ 219 h 21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6" h="219">
                <a:moveTo>
                  <a:pt x="18" y="156"/>
                </a:moveTo>
                <a:lnTo>
                  <a:pt x="23" y="147"/>
                </a:lnTo>
                <a:lnTo>
                  <a:pt x="27" y="143"/>
                </a:lnTo>
                <a:lnTo>
                  <a:pt x="31" y="134"/>
                </a:lnTo>
                <a:lnTo>
                  <a:pt x="27" y="121"/>
                </a:lnTo>
                <a:lnTo>
                  <a:pt x="31" y="103"/>
                </a:lnTo>
                <a:lnTo>
                  <a:pt x="14" y="85"/>
                </a:lnTo>
                <a:lnTo>
                  <a:pt x="9" y="80"/>
                </a:lnTo>
                <a:lnTo>
                  <a:pt x="18" y="71"/>
                </a:lnTo>
                <a:lnTo>
                  <a:pt x="14" y="58"/>
                </a:lnTo>
                <a:lnTo>
                  <a:pt x="5" y="49"/>
                </a:lnTo>
                <a:lnTo>
                  <a:pt x="5" y="36"/>
                </a:lnTo>
                <a:lnTo>
                  <a:pt x="0" y="31"/>
                </a:lnTo>
                <a:lnTo>
                  <a:pt x="9" y="13"/>
                </a:lnTo>
                <a:lnTo>
                  <a:pt x="18" y="9"/>
                </a:lnTo>
                <a:lnTo>
                  <a:pt x="31" y="0"/>
                </a:lnTo>
                <a:lnTo>
                  <a:pt x="40" y="0"/>
                </a:lnTo>
                <a:lnTo>
                  <a:pt x="49" y="4"/>
                </a:lnTo>
                <a:lnTo>
                  <a:pt x="45" y="9"/>
                </a:lnTo>
                <a:lnTo>
                  <a:pt x="54" y="13"/>
                </a:lnTo>
                <a:lnTo>
                  <a:pt x="54" y="49"/>
                </a:lnTo>
                <a:lnTo>
                  <a:pt x="67" y="36"/>
                </a:lnTo>
                <a:lnTo>
                  <a:pt x="76" y="40"/>
                </a:lnTo>
                <a:lnTo>
                  <a:pt x="85" y="31"/>
                </a:lnTo>
                <a:lnTo>
                  <a:pt x="94" y="31"/>
                </a:lnTo>
                <a:lnTo>
                  <a:pt x="103" y="58"/>
                </a:lnTo>
                <a:lnTo>
                  <a:pt x="116" y="71"/>
                </a:lnTo>
                <a:lnTo>
                  <a:pt x="107" y="89"/>
                </a:lnTo>
                <a:lnTo>
                  <a:pt x="81" y="94"/>
                </a:lnTo>
                <a:lnTo>
                  <a:pt x="72" y="107"/>
                </a:lnTo>
                <a:lnTo>
                  <a:pt x="81" y="125"/>
                </a:lnTo>
                <a:lnTo>
                  <a:pt x="81" y="134"/>
                </a:lnTo>
                <a:lnTo>
                  <a:pt x="72" y="129"/>
                </a:lnTo>
                <a:lnTo>
                  <a:pt x="63" y="121"/>
                </a:lnTo>
                <a:lnTo>
                  <a:pt x="49" y="121"/>
                </a:lnTo>
                <a:lnTo>
                  <a:pt x="49" y="107"/>
                </a:lnTo>
                <a:lnTo>
                  <a:pt x="40" y="107"/>
                </a:lnTo>
                <a:lnTo>
                  <a:pt x="40" y="125"/>
                </a:lnTo>
                <a:lnTo>
                  <a:pt x="31" y="138"/>
                </a:lnTo>
                <a:lnTo>
                  <a:pt x="27" y="170"/>
                </a:lnTo>
                <a:lnTo>
                  <a:pt x="36" y="170"/>
                </a:lnTo>
                <a:lnTo>
                  <a:pt x="45" y="183"/>
                </a:lnTo>
                <a:lnTo>
                  <a:pt x="49" y="196"/>
                </a:lnTo>
                <a:lnTo>
                  <a:pt x="58" y="201"/>
                </a:lnTo>
                <a:lnTo>
                  <a:pt x="67" y="210"/>
                </a:lnTo>
                <a:lnTo>
                  <a:pt x="63" y="219"/>
                </a:lnTo>
                <a:lnTo>
                  <a:pt x="54" y="219"/>
                </a:lnTo>
                <a:lnTo>
                  <a:pt x="45" y="205"/>
                </a:lnTo>
                <a:lnTo>
                  <a:pt x="40" y="210"/>
                </a:lnTo>
                <a:lnTo>
                  <a:pt x="31" y="205"/>
                </a:lnTo>
                <a:lnTo>
                  <a:pt x="27" y="196"/>
                </a:lnTo>
                <a:lnTo>
                  <a:pt x="23" y="201"/>
                </a:lnTo>
                <a:lnTo>
                  <a:pt x="18" y="196"/>
                </a:lnTo>
                <a:lnTo>
                  <a:pt x="23" y="192"/>
                </a:lnTo>
                <a:lnTo>
                  <a:pt x="18" y="188"/>
                </a:lnTo>
                <a:lnTo>
                  <a:pt x="14" y="192"/>
                </a:lnTo>
                <a:lnTo>
                  <a:pt x="9" y="183"/>
                </a:lnTo>
                <a:lnTo>
                  <a:pt x="14" y="170"/>
                </a:lnTo>
                <a:lnTo>
                  <a:pt x="18" y="156"/>
                </a:lnTo>
                <a:close/>
              </a:path>
            </a:pathLst>
          </a:custGeom>
          <a:solidFill>
            <a:srgbClr val="FF9933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6" name="Freeform 187"/>
          <p:cNvSpPr>
            <a:spLocks/>
          </p:cNvSpPr>
          <p:nvPr/>
        </p:nvSpPr>
        <p:spPr bwMode="gray">
          <a:xfrm>
            <a:off x="2422170" y="4614388"/>
            <a:ext cx="109517" cy="60897"/>
          </a:xfrm>
          <a:custGeom>
            <a:avLst/>
            <a:gdLst>
              <a:gd name="T0" fmla="*/ 0 w 80"/>
              <a:gd name="T1" fmla="*/ 14 h 50"/>
              <a:gd name="T2" fmla="*/ 9 w 80"/>
              <a:gd name="T3" fmla="*/ 18 h 50"/>
              <a:gd name="T4" fmla="*/ 13 w 80"/>
              <a:gd name="T5" fmla="*/ 18 h 50"/>
              <a:gd name="T6" fmla="*/ 26 w 80"/>
              <a:gd name="T7" fmla="*/ 23 h 50"/>
              <a:gd name="T8" fmla="*/ 40 w 80"/>
              <a:gd name="T9" fmla="*/ 23 h 50"/>
              <a:gd name="T10" fmla="*/ 44 w 80"/>
              <a:gd name="T11" fmla="*/ 32 h 50"/>
              <a:gd name="T12" fmla="*/ 49 w 80"/>
              <a:gd name="T13" fmla="*/ 27 h 50"/>
              <a:gd name="T14" fmla="*/ 49 w 80"/>
              <a:gd name="T15" fmla="*/ 23 h 50"/>
              <a:gd name="T16" fmla="*/ 53 w 80"/>
              <a:gd name="T17" fmla="*/ 23 h 50"/>
              <a:gd name="T18" fmla="*/ 71 w 80"/>
              <a:gd name="T19" fmla="*/ 0 h 50"/>
              <a:gd name="T20" fmla="*/ 76 w 80"/>
              <a:gd name="T21" fmla="*/ 0 h 50"/>
              <a:gd name="T22" fmla="*/ 80 w 80"/>
              <a:gd name="T23" fmla="*/ 5 h 50"/>
              <a:gd name="T24" fmla="*/ 76 w 80"/>
              <a:gd name="T25" fmla="*/ 14 h 50"/>
              <a:gd name="T26" fmla="*/ 76 w 80"/>
              <a:gd name="T27" fmla="*/ 14 h 50"/>
              <a:gd name="T28" fmla="*/ 71 w 80"/>
              <a:gd name="T29" fmla="*/ 18 h 50"/>
              <a:gd name="T30" fmla="*/ 62 w 80"/>
              <a:gd name="T31" fmla="*/ 32 h 50"/>
              <a:gd name="T32" fmla="*/ 44 w 80"/>
              <a:gd name="T33" fmla="*/ 41 h 50"/>
              <a:gd name="T34" fmla="*/ 22 w 80"/>
              <a:gd name="T35" fmla="*/ 50 h 50"/>
              <a:gd name="T36" fmla="*/ 9 w 80"/>
              <a:gd name="T37" fmla="*/ 41 h 50"/>
              <a:gd name="T38" fmla="*/ 0 w 80"/>
              <a:gd name="T39" fmla="*/ 14 h 5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0"/>
              <a:gd name="T61" fmla="*/ 0 h 50"/>
              <a:gd name="T62" fmla="*/ 80 w 80"/>
              <a:gd name="T63" fmla="*/ 50 h 5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0" h="50">
                <a:moveTo>
                  <a:pt x="0" y="14"/>
                </a:moveTo>
                <a:lnTo>
                  <a:pt x="9" y="18"/>
                </a:lnTo>
                <a:lnTo>
                  <a:pt x="13" y="18"/>
                </a:lnTo>
                <a:lnTo>
                  <a:pt x="26" y="23"/>
                </a:lnTo>
                <a:lnTo>
                  <a:pt x="40" y="23"/>
                </a:lnTo>
                <a:lnTo>
                  <a:pt x="44" y="32"/>
                </a:lnTo>
                <a:lnTo>
                  <a:pt x="49" y="27"/>
                </a:lnTo>
                <a:lnTo>
                  <a:pt x="49" y="23"/>
                </a:lnTo>
                <a:lnTo>
                  <a:pt x="53" y="23"/>
                </a:lnTo>
                <a:lnTo>
                  <a:pt x="71" y="0"/>
                </a:lnTo>
                <a:lnTo>
                  <a:pt x="76" y="0"/>
                </a:lnTo>
                <a:lnTo>
                  <a:pt x="80" y="5"/>
                </a:lnTo>
                <a:lnTo>
                  <a:pt x="76" y="14"/>
                </a:lnTo>
                <a:lnTo>
                  <a:pt x="71" y="18"/>
                </a:lnTo>
                <a:lnTo>
                  <a:pt x="62" y="32"/>
                </a:lnTo>
                <a:lnTo>
                  <a:pt x="44" y="41"/>
                </a:lnTo>
                <a:lnTo>
                  <a:pt x="22" y="50"/>
                </a:lnTo>
                <a:lnTo>
                  <a:pt x="9" y="41"/>
                </a:lnTo>
                <a:lnTo>
                  <a:pt x="0" y="14"/>
                </a:lnTo>
                <a:close/>
              </a:path>
            </a:pathLst>
          </a:custGeom>
          <a:solidFill>
            <a:srgbClr val="FF9933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7" name="Freeform 188"/>
          <p:cNvSpPr>
            <a:spLocks/>
          </p:cNvSpPr>
          <p:nvPr/>
        </p:nvSpPr>
        <p:spPr bwMode="gray">
          <a:xfrm>
            <a:off x="2457763" y="4250222"/>
            <a:ext cx="269685" cy="174166"/>
          </a:xfrm>
          <a:custGeom>
            <a:avLst/>
            <a:gdLst>
              <a:gd name="T0" fmla="*/ 5 w 197"/>
              <a:gd name="T1" fmla="*/ 31 h 143"/>
              <a:gd name="T2" fmla="*/ 18 w 197"/>
              <a:gd name="T3" fmla="*/ 9 h 143"/>
              <a:gd name="T4" fmla="*/ 32 w 197"/>
              <a:gd name="T5" fmla="*/ 31 h 143"/>
              <a:gd name="T6" fmla="*/ 9 w 197"/>
              <a:gd name="T7" fmla="*/ 40 h 143"/>
              <a:gd name="T8" fmla="*/ 0 w 197"/>
              <a:gd name="T9" fmla="*/ 49 h 143"/>
              <a:gd name="T10" fmla="*/ 9 w 197"/>
              <a:gd name="T11" fmla="*/ 54 h 143"/>
              <a:gd name="T12" fmla="*/ 18 w 197"/>
              <a:gd name="T13" fmla="*/ 67 h 143"/>
              <a:gd name="T14" fmla="*/ 5 w 197"/>
              <a:gd name="T15" fmla="*/ 67 h 143"/>
              <a:gd name="T16" fmla="*/ 14 w 197"/>
              <a:gd name="T17" fmla="*/ 72 h 143"/>
              <a:gd name="T18" fmla="*/ 18 w 197"/>
              <a:gd name="T19" fmla="*/ 98 h 143"/>
              <a:gd name="T20" fmla="*/ 32 w 197"/>
              <a:gd name="T21" fmla="*/ 103 h 143"/>
              <a:gd name="T22" fmla="*/ 54 w 197"/>
              <a:gd name="T23" fmla="*/ 94 h 143"/>
              <a:gd name="T24" fmla="*/ 72 w 197"/>
              <a:gd name="T25" fmla="*/ 94 h 143"/>
              <a:gd name="T26" fmla="*/ 108 w 197"/>
              <a:gd name="T27" fmla="*/ 116 h 143"/>
              <a:gd name="T28" fmla="*/ 121 w 197"/>
              <a:gd name="T29" fmla="*/ 134 h 143"/>
              <a:gd name="T30" fmla="*/ 139 w 197"/>
              <a:gd name="T31" fmla="*/ 143 h 143"/>
              <a:gd name="T32" fmla="*/ 170 w 197"/>
              <a:gd name="T33" fmla="*/ 125 h 143"/>
              <a:gd name="T34" fmla="*/ 188 w 197"/>
              <a:gd name="T35" fmla="*/ 103 h 143"/>
              <a:gd name="T36" fmla="*/ 197 w 197"/>
              <a:gd name="T37" fmla="*/ 103 h 143"/>
              <a:gd name="T38" fmla="*/ 188 w 197"/>
              <a:gd name="T39" fmla="*/ 89 h 143"/>
              <a:gd name="T40" fmla="*/ 175 w 197"/>
              <a:gd name="T41" fmla="*/ 81 h 143"/>
              <a:gd name="T42" fmla="*/ 152 w 197"/>
              <a:gd name="T43" fmla="*/ 63 h 143"/>
              <a:gd name="T44" fmla="*/ 134 w 197"/>
              <a:gd name="T45" fmla="*/ 45 h 143"/>
              <a:gd name="T46" fmla="*/ 130 w 197"/>
              <a:gd name="T47" fmla="*/ 27 h 143"/>
              <a:gd name="T48" fmla="*/ 108 w 197"/>
              <a:gd name="T49" fmla="*/ 31 h 143"/>
              <a:gd name="T50" fmla="*/ 108 w 197"/>
              <a:gd name="T51" fmla="*/ 13 h 143"/>
              <a:gd name="T52" fmla="*/ 99 w 197"/>
              <a:gd name="T53" fmla="*/ 5 h 143"/>
              <a:gd name="T54" fmla="*/ 81 w 197"/>
              <a:gd name="T55" fmla="*/ 5 h 143"/>
              <a:gd name="T56" fmla="*/ 81 w 197"/>
              <a:gd name="T57" fmla="*/ 13 h 143"/>
              <a:gd name="T58" fmla="*/ 72 w 197"/>
              <a:gd name="T59" fmla="*/ 9 h 143"/>
              <a:gd name="T60" fmla="*/ 67 w 197"/>
              <a:gd name="T61" fmla="*/ 13 h 143"/>
              <a:gd name="T62" fmla="*/ 63 w 197"/>
              <a:gd name="T63" fmla="*/ 22 h 143"/>
              <a:gd name="T64" fmla="*/ 59 w 197"/>
              <a:gd name="T65" fmla="*/ 27 h 143"/>
              <a:gd name="T66" fmla="*/ 41 w 197"/>
              <a:gd name="T67" fmla="*/ 27 h 143"/>
              <a:gd name="T68" fmla="*/ 32 w 197"/>
              <a:gd name="T69" fmla="*/ 13 h 143"/>
              <a:gd name="T70" fmla="*/ 9 w 197"/>
              <a:gd name="T71" fmla="*/ 9 h 143"/>
              <a:gd name="T72" fmla="*/ 0 w 197"/>
              <a:gd name="T73" fmla="*/ 18 h 14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97"/>
              <a:gd name="T112" fmla="*/ 0 h 143"/>
              <a:gd name="T113" fmla="*/ 197 w 197"/>
              <a:gd name="T114" fmla="*/ 143 h 14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97" h="143">
                <a:moveTo>
                  <a:pt x="0" y="18"/>
                </a:moveTo>
                <a:lnTo>
                  <a:pt x="5" y="31"/>
                </a:lnTo>
                <a:lnTo>
                  <a:pt x="5" y="13"/>
                </a:lnTo>
                <a:lnTo>
                  <a:pt x="18" y="9"/>
                </a:lnTo>
                <a:lnTo>
                  <a:pt x="23" y="22"/>
                </a:lnTo>
                <a:lnTo>
                  <a:pt x="32" y="31"/>
                </a:lnTo>
                <a:lnTo>
                  <a:pt x="23" y="36"/>
                </a:lnTo>
                <a:lnTo>
                  <a:pt x="9" y="40"/>
                </a:lnTo>
                <a:lnTo>
                  <a:pt x="5" y="36"/>
                </a:lnTo>
                <a:lnTo>
                  <a:pt x="0" y="49"/>
                </a:lnTo>
                <a:lnTo>
                  <a:pt x="5" y="58"/>
                </a:lnTo>
                <a:lnTo>
                  <a:pt x="9" y="54"/>
                </a:lnTo>
                <a:lnTo>
                  <a:pt x="18" y="54"/>
                </a:lnTo>
                <a:lnTo>
                  <a:pt x="18" y="67"/>
                </a:lnTo>
                <a:lnTo>
                  <a:pt x="9" y="63"/>
                </a:lnTo>
                <a:lnTo>
                  <a:pt x="5" y="67"/>
                </a:lnTo>
                <a:lnTo>
                  <a:pt x="9" y="72"/>
                </a:lnTo>
                <a:lnTo>
                  <a:pt x="14" y="72"/>
                </a:lnTo>
                <a:lnTo>
                  <a:pt x="18" y="76"/>
                </a:lnTo>
                <a:lnTo>
                  <a:pt x="18" y="98"/>
                </a:lnTo>
                <a:lnTo>
                  <a:pt x="23" y="107"/>
                </a:lnTo>
                <a:lnTo>
                  <a:pt x="32" y="103"/>
                </a:lnTo>
                <a:lnTo>
                  <a:pt x="41" y="94"/>
                </a:lnTo>
                <a:lnTo>
                  <a:pt x="54" y="94"/>
                </a:lnTo>
                <a:lnTo>
                  <a:pt x="63" y="85"/>
                </a:lnTo>
                <a:lnTo>
                  <a:pt x="72" y="94"/>
                </a:lnTo>
                <a:lnTo>
                  <a:pt x="94" y="98"/>
                </a:lnTo>
                <a:lnTo>
                  <a:pt x="108" y="116"/>
                </a:lnTo>
                <a:lnTo>
                  <a:pt x="121" y="116"/>
                </a:lnTo>
                <a:lnTo>
                  <a:pt x="121" y="134"/>
                </a:lnTo>
                <a:lnTo>
                  <a:pt x="134" y="134"/>
                </a:lnTo>
                <a:lnTo>
                  <a:pt x="139" y="143"/>
                </a:lnTo>
                <a:lnTo>
                  <a:pt x="152" y="130"/>
                </a:lnTo>
                <a:lnTo>
                  <a:pt x="170" y="125"/>
                </a:lnTo>
                <a:lnTo>
                  <a:pt x="179" y="107"/>
                </a:lnTo>
                <a:lnTo>
                  <a:pt x="188" y="103"/>
                </a:lnTo>
                <a:lnTo>
                  <a:pt x="197" y="107"/>
                </a:lnTo>
                <a:lnTo>
                  <a:pt x="197" y="103"/>
                </a:lnTo>
                <a:lnTo>
                  <a:pt x="197" y="94"/>
                </a:lnTo>
                <a:lnTo>
                  <a:pt x="188" y="89"/>
                </a:lnTo>
                <a:lnTo>
                  <a:pt x="184" y="89"/>
                </a:lnTo>
                <a:lnTo>
                  <a:pt x="175" y="81"/>
                </a:lnTo>
                <a:lnTo>
                  <a:pt x="166" y="76"/>
                </a:lnTo>
                <a:lnTo>
                  <a:pt x="152" y="63"/>
                </a:lnTo>
                <a:lnTo>
                  <a:pt x="143" y="54"/>
                </a:lnTo>
                <a:lnTo>
                  <a:pt x="134" y="45"/>
                </a:lnTo>
                <a:lnTo>
                  <a:pt x="134" y="36"/>
                </a:lnTo>
                <a:lnTo>
                  <a:pt x="130" y="27"/>
                </a:lnTo>
                <a:lnTo>
                  <a:pt x="126" y="31"/>
                </a:lnTo>
                <a:lnTo>
                  <a:pt x="108" y="31"/>
                </a:lnTo>
                <a:lnTo>
                  <a:pt x="103" y="18"/>
                </a:lnTo>
                <a:lnTo>
                  <a:pt x="108" y="13"/>
                </a:lnTo>
                <a:lnTo>
                  <a:pt x="108" y="9"/>
                </a:lnTo>
                <a:lnTo>
                  <a:pt x="99" y="5"/>
                </a:lnTo>
                <a:lnTo>
                  <a:pt x="81" y="0"/>
                </a:lnTo>
                <a:lnTo>
                  <a:pt x="81" y="5"/>
                </a:lnTo>
                <a:lnTo>
                  <a:pt x="85" y="9"/>
                </a:lnTo>
                <a:lnTo>
                  <a:pt x="81" y="13"/>
                </a:lnTo>
                <a:lnTo>
                  <a:pt x="76" y="5"/>
                </a:lnTo>
                <a:lnTo>
                  <a:pt x="72" y="9"/>
                </a:lnTo>
                <a:lnTo>
                  <a:pt x="72" y="13"/>
                </a:lnTo>
                <a:lnTo>
                  <a:pt x="67" y="13"/>
                </a:lnTo>
                <a:lnTo>
                  <a:pt x="63" y="18"/>
                </a:lnTo>
                <a:lnTo>
                  <a:pt x="63" y="22"/>
                </a:lnTo>
                <a:lnTo>
                  <a:pt x="63" y="27"/>
                </a:lnTo>
                <a:lnTo>
                  <a:pt x="59" y="27"/>
                </a:lnTo>
                <a:lnTo>
                  <a:pt x="45" y="27"/>
                </a:lnTo>
                <a:lnTo>
                  <a:pt x="41" y="27"/>
                </a:lnTo>
                <a:lnTo>
                  <a:pt x="36" y="22"/>
                </a:lnTo>
                <a:lnTo>
                  <a:pt x="32" y="13"/>
                </a:lnTo>
                <a:lnTo>
                  <a:pt x="23" y="5"/>
                </a:lnTo>
                <a:lnTo>
                  <a:pt x="9" y="9"/>
                </a:lnTo>
                <a:lnTo>
                  <a:pt x="0" y="13"/>
                </a:lnTo>
                <a:lnTo>
                  <a:pt x="0" y="18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8" name="Freeform 189"/>
          <p:cNvSpPr>
            <a:spLocks/>
          </p:cNvSpPr>
          <p:nvPr/>
        </p:nvSpPr>
        <p:spPr bwMode="gray">
          <a:xfrm>
            <a:off x="2519366" y="4179582"/>
            <a:ext cx="342240" cy="200961"/>
          </a:xfrm>
          <a:custGeom>
            <a:avLst/>
            <a:gdLst>
              <a:gd name="T0" fmla="*/ 0 w 250"/>
              <a:gd name="T1" fmla="*/ 13 h 165"/>
              <a:gd name="T2" fmla="*/ 36 w 250"/>
              <a:gd name="T3" fmla="*/ 9 h 165"/>
              <a:gd name="T4" fmla="*/ 45 w 250"/>
              <a:gd name="T5" fmla="*/ 40 h 165"/>
              <a:gd name="T6" fmla="*/ 49 w 250"/>
              <a:gd name="T7" fmla="*/ 40 h 165"/>
              <a:gd name="T8" fmla="*/ 63 w 250"/>
              <a:gd name="T9" fmla="*/ 45 h 165"/>
              <a:gd name="T10" fmla="*/ 76 w 250"/>
              <a:gd name="T11" fmla="*/ 31 h 165"/>
              <a:gd name="T12" fmla="*/ 89 w 250"/>
              <a:gd name="T13" fmla="*/ 40 h 165"/>
              <a:gd name="T14" fmla="*/ 125 w 250"/>
              <a:gd name="T15" fmla="*/ 36 h 165"/>
              <a:gd name="T16" fmla="*/ 139 w 250"/>
              <a:gd name="T17" fmla="*/ 54 h 165"/>
              <a:gd name="T18" fmla="*/ 143 w 250"/>
              <a:gd name="T19" fmla="*/ 67 h 165"/>
              <a:gd name="T20" fmla="*/ 139 w 250"/>
              <a:gd name="T21" fmla="*/ 76 h 165"/>
              <a:gd name="T22" fmla="*/ 152 w 250"/>
              <a:gd name="T23" fmla="*/ 85 h 165"/>
              <a:gd name="T24" fmla="*/ 188 w 250"/>
              <a:gd name="T25" fmla="*/ 85 h 165"/>
              <a:gd name="T26" fmla="*/ 219 w 250"/>
              <a:gd name="T27" fmla="*/ 63 h 165"/>
              <a:gd name="T28" fmla="*/ 223 w 250"/>
              <a:gd name="T29" fmla="*/ 71 h 165"/>
              <a:gd name="T30" fmla="*/ 210 w 250"/>
              <a:gd name="T31" fmla="*/ 85 h 165"/>
              <a:gd name="T32" fmla="*/ 215 w 250"/>
              <a:gd name="T33" fmla="*/ 89 h 165"/>
              <a:gd name="T34" fmla="*/ 232 w 250"/>
              <a:gd name="T35" fmla="*/ 89 h 165"/>
              <a:gd name="T36" fmla="*/ 250 w 250"/>
              <a:gd name="T37" fmla="*/ 94 h 165"/>
              <a:gd name="T38" fmla="*/ 246 w 250"/>
              <a:gd name="T39" fmla="*/ 103 h 165"/>
              <a:gd name="T40" fmla="*/ 237 w 250"/>
              <a:gd name="T41" fmla="*/ 103 h 165"/>
              <a:gd name="T42" fmla="*/ 223 w 250"/>
              <a:gd name="T43" fmla="*/ 103 h 165"/>
              <a:gd name="T44" fmla="*/ 223 w 250"/>
              <a:gd name="T45" fmla="*/ 116 h 165"/>
              <a:gd name="T46" fmla="*/ 219 w 250"/>
              <a:gd name="T47" fmla="*/ 107 h 165"/>
              <a:gd name="T48" fmla="*/ 210 w 250"/>
              <a:gd name="T49" fmla="*/ 107 h 165"/>
              <a:gd name="T50" fmla="*/ 210 w 250"/>
              <a:gd name="T51" fmla="*/ 98 h 165"/>
              <a:gd name="T52" fmla="*/ 206 w 250"/>
              <a:gd name="T53" fmla="*/ 89 h 165"/>
              <a:gd name="T54" fmla="*/ 192 w 250"/>
              <a:gd name="T55" fmla="*/ 94 h 165"/>
              <a:gd name="T56" fmla="*/ 188 w 250"/>
              <a:gd name="T57" fmla="*/ 107 h 165"/>
              <a:gd name="T58" fmla="*/ 174 w 250"/>
              <a:gd name="T59" fmla="*/ 116 h 165"/>
              <a:gd name="T60" fmla="*/ 165 w 250"/>
              <a:gd name="T61" fmla="*/ 125 h 165"/>
              <a:gd name="T62" fmla="*/ 170 w 250"/>
              <a:gd name="T63" fmla="*/ 130 h 165"/>
              <a:gd name="T64" fmla="*/ 179 w 250"/>
              <a:gd name="T65" fmla="*/ 134 h 165"/>
              <a:gd name="T66" fmla="*/ 179 w 250"/>
              <a:gd name="T67" fmla="*/ 147 h 165"/>
              <a:gd name="T68" fmla="*/ 170 w 250"/>
              <a:gd name="T69" fmla="*/ 165 h 165"/>
              <a:gd name="T70" fmla="*/ 152 w 250"/>
              <a:gd name="T71" fmla="*/ 161 h 165"/>
              <a:gd name="T72" fmla="*/ 143 w 250"/>
              <a:gd name="T73" fmla="*/ 147 h 165"/>
              <a:gd name="T74" fmla="*/ 130 w 250"/>
              <a:gd name="T75" fmla="*/ 139 h 165"/>
              <a:gd name="T76" fmla="*/ 107 w 250"/>
              <a:gd name="T77" fmla="*/ 121 h 165"/>
              <a:gd name="T78" fmla="*/ 89 w 250"/>
              <a:gd name="T79" fmla="*/ 103 h 165"/>
              <a:gd name="T80" fmla="*/ 85 w 250"/>
              <a:gd name="T81" fmla="*/ 85 h 165"/>
              <a:gd name="T82" fmla="*/ 63 w 250"/>
              <a:gd name="T83" fmla="*/ 89 h 165"/>
              <a:gd name="T84" fmla="*/ 63 w 250"/>
              <a:gd name="T85" fmla="*/ 71 h 165"/>
              <a:gd name="T86" fmla="*/ 54 w 250"/>
              <a:gd name="T87" fmla="*/ 63 h 165"/>
              <a:gd name="T88" fmla="*/ 36 w 250"/>
              <a:gd name="T89" fmla="*/ 63 h 165"/>
              <a:gd name="T90" fmla="*/ 36 w 250"/>
              <a:gd name="T91" fmla="*/ 71 h 165"/>
              <a:gd name="T92" fmla="*/ 27 w 250"/>
              <a:gd name="T93" fmla="*/ 67 h 165"/>
              <a:gd name="T94" fmla="*/ 22 w 250"/>
              <a:gd name="T95" fmla="*/ 71 h 165"/>
              <a:gd name="T96" fmla="*/ 18 w 250"/>
              <a:gd name="T97" fmla="*/ 80 h 165"/>
              <a:gd name="T98" fmla="*/ 14 w 250"/>
              <a:gd name="T99" fmla="*/ 85 h 165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50"/>
              <a:gd name="T151" fmla="*/ 0 h 165"/>
              <a:gd name="T152" fmla="*/ 250 w 250"/>
              <a:gd name="T153" fmla="*/ 165 h 165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50" h="165">
                <a:moveTo>
                  <a:pt x="0" y="85"/>
                </a:moveTo>
                <a:lnTo>
                  <a:pt x="0" y="13"/>
                </a:lnTo>
                <a:lnTo>
                  <a:pt x="40" y="0"/>
                </a:lnTo>
                <a:lnTo>
                  <a:pt x="36" y="9"/>
                </a:lnTo>
                <a:lnTo>
                  <a:pt x="36" y="40"/>
                </a:lnTo>
                <a:lnTo>
                  <a:pt x="45" y="40"/>
                </a:lnTo>
                <a:lnTo>
                  <a:pt x="45" y="49"/>
                </a:lnTo>
                <a:lnTo>
                  <a:pt x="49" y="40"/>
                </a:lnTo>
                <a:lnTo>
                  <a:pt x="58" y="40"/>
                </a:lnTo>
                <a:lnTo>
                  <a:pt x="63" y="45"/>
                </a:lnTo>
                <a:lnTo>
                  <a:pt x="72" y="31"/>
                </a:lnTo>
                <a:lnTo>
                  <a:pt x="76" y="31"/>
                </a:lnTo>
                <a:lnTo>
                  <a:pt x="81" y="27"/>
                </a:lnTo>
                <a:lnTo>
                  <a:pt x="89" y="40"/>
                </a:lnTo>
                <a:lnTo>
                  <a:pt x="121" y="40"/>
                </a:lnTo>
                <a:lnTo>
                  <a:pt x="125" y="36"/>
                </a:lnTo>
                <a:lnTo>
                  <a:pt x="134" y="45"/>
                </a:lnTo>
                <a:lnTo>
                  <a:pt x="139" y="54"/>
                </a:lnTo>
                <a:lnTo>
                  <a:pt x="143" y="54"/>
                </a:lnTo>
                <a:lnTo>
                  <a:pt x="143" y="67"/>
                </a:lnTo>
                <a:lnTo>
                  <a:pt x="139" y="67"/>
                </a:lnTo>
                <a:lnTo>
                  <a:pt x="139" y="76"/>
                </a:lnTo>
                <a:lnTo>
                  <a:pt x="152" y="76"/>
                </a:lnTo>
                <a:lnTo>
                  <a:pt x="152" y="85"/>
                </a:lnTo>
                <a:lnTo>
                  <a:pt x="183" y="89"/>
                </a:lnTo>
                <a:lnTo>
                  <a:pt x="188" y="85"/>
                </a:lnTo>
                <a:lnTo>
                  <a:pt x="206" y="67"/>
                </a:lnTo>
                <a:lnTo>
                  <a:pt x="219" y="63"/>
                </a:lnTo>
                <a:lnTo>
                  <a:pt x="223" y="67"/>
                </a:lnTo>
                <a:lnTo>
                  <a:pt x="223" y="71"/>
                </a:lnTo>
                <a:lnTo>
                  <a:pt x="210" y="80"/>
                </a:lnTo>
                <a:lnTo>
                  <a:pt x="210" y="85"/>
                </a:lnTo>
                <a:lnTo>
                  <a:pt x="215" y="85"/>
                </a:lnTo>
                <a:lnTo>
                  <a:pt x="215" y="89"/>
                </a:lnTo>
                <a:lnTo>
                  <a:pt x="228" y="85"/>
                </a:lnTo>
                <a:lnTo>
                  <a:pt x="232" y="89"/>
                </a:lnTo>
                <a:lnTo>
                  <a:pt x="241" y="94"/>
                </a:lnTo>
                <a:lnTo>
                  <a:pt x="250" y="94"/>
                </a:lnTo>
                <a:lnTo>
                  <a:pt x="250" y="98"/>
                </a:lnTo>
                <a:lnTo>
                  <a:pt x="246" y="103"/>
                </a:lnTo>
                <a:lnTo>
                  <a:pt x="241" y="98"/>
                </a:lnTo>
                <a:lnTo>
                  <a:pt x="237" y="103"/>
                </a:lnTo>
                <a:lnTo>
                  <a:pt x="232" y="107"/>
                </a:lnTo>
                <a:lnTo>
                  <a:pt x="223" y="103"/>
                </a:lnTo>
                <a:lnTo>
                  <a:pt x="223" y="107"/>
                </a:lnTo>
                <a:lnTo>
                  <a:pt x="223" y="116"/>
                </a:lnTo>
                <a:lnTo>
                  <a:pt x="219" y="116"/>
                </a:lnTo>
                <a:lnTo>
                  <a:pt x="219" y="107"/>
                </a:lnTo>
                <a:lnTo>
                  <a:pt x="215" y="107"/>
                </a:lnTo>
                <a:lnTo>
                  <a:pt x="210" y="107"/>
                </a:lnTo>
                <a:lnTo>
                  <a:pt x="210" y="98"/>
                </a:lnTo>
                <a:lnTo>
                  <a:pt x="210" y="89"/>
                </a:lnTo>
                <a:lnTo>
                  <a:pt x="206" y="89"/>
                </a:lnTo>
                <a:lnTo>
                  <a:pt x="206" y="94"/>
                </a:lnTo>
                <a:lnTo>
                  <a:pt x="192" y="94"/>
                </a:lnTo>
                <a:lnTo>
                  <a:pt x="197" y="98"/>
                </a:lnTo>
                <a:lnTo>
                  <a:pt x="188" y="107"/>
                </a:lnTo>
                <a:lnTo>
                  <a:pt x="174" y="116"/>
                </a:lnTo>
                <a:lnTo>
                  <a:pt x="170" y="121"/>
                </a:lnTo>
                <a:lnTo>
                  <a:pt x="165" y="125"/>
                </a:lnTo>
                <a:lnTo>
                  <a:pt x="170" y="130"/>
                </a:lnTo>
                <a:lnTo>
                  <a:pt x="174" y="134"/>
                </a:lnTo>
                <a:lnTo>
                  <a:pt x="179" y="134"/>
                </a:lnTo>
                <a:lnTo>
                  <a:pt x="174" y="143"/>
                </a:lnTo>
                <a:lnTo>
                  <a:pt x="179" y="147"/>
                </a:lnTo>
                <a:lnTo>
                  <a:pt x="174" y="156"/>
                </a:lnTo>
                <a:lnTo>
                  <a:pt x="170" y="165"/>
                </a:lnTo>
                <a:lnTo>
                  <a:pt x="152" y="165"/>
                </a:lnTo>
                <a:lnTo>
                  <a:pt x="152" y="161"/>
                </a:lnTo>
                <a:lnTo>
                  <a:pt x="152" y="152"/>
                </a:lnTo>
                <a:lnTo>
                  <a:pt x="143" y="147"/>
                </a:lnTo>
                <a:lnTo>
                  <a:pt x="139" y="147"/>
                </a:lnTo>
                <a:lnTo>
                  <a:pt x="130" y="139"/>
                </a:lnTo>
                <a:lnTo>
                  <a:pt x="121" y="134"/>
                </a:lnTo>
                <a:lnTo>
                  <a:pt x="107" y="121"/>
                </a:lnTo>
                <a:lnTo>
                  <a:pt x="98" y="112"/>
                </a:lnTo>
                <a:lnTo>
                  <a:pt x="89" y="103"/>
                </a:lnTo>
                <a:lnTo>
                  <a:pt x="89" y="94"/>
                </a:lnTo>
                <a:lnTo>
                  <a:pt x="85" y="85"/>
                </a:lnTo>
                <a:lnTo>
                  <a:pt x="81" y="89"/>
                </a:lnTo>
                <a:lnTo>
                  <a:pt x="63" y="89"/>
                </a:lnTo>
                <a:lnTo>
                  <a:pt x="58" y="76"/>
                </a:lnTo>
                <a:lnTo>
                  <a:pt x="63" y="71"/>
                </a:lnTo>
                <a:lnTo>
                  <a:pt x="63" y="67"/>
                </a:lnTo>
                <a:lnTo>
                  <a:pt x="54" y="63"/>
                </a:lnTo>
                <a:lnTo>
                  <a:pt x="36" y="58"/>
                </a:lnTo>
                <a:lnTo>
                  <a:pt x="36" y="63"/>
                </a:lnTo>
                <a:lnTo>
                  <a:pt x="40" y="67"/>
                </a:lnTo>
                <a:lnTo>
                  <a:pt x="36" y="71"/>
                </a:lnTo>
                <a:lnTo>
                  <a:pt x="31" y="63"/>
                </a:lnTo>
                <a:lnTo>
                  <a:pt x="27" y="67"/>
                </a:lnTo>
                <a:lnTo>
                  <a:pt x="27" y="71"/>
                </a:lnTo>
                <a:lnTo>
                  <a:pt x="22" y="71"/>
                </a:lnTo>
                <a:lnTo>
                  <a:pt x="18" y="76"/>
                </a:lnTo>
                <a:lnTo>
                  <a:pt x="18" y="80"/>
                </a:lnTo>
                <a:lnTo>
                  <a:pt x="18" y="85"/>
                </a:lnTo>
                <a:lnTo>
                  <a:pt x="14" y="85"/>
                </a:lnTo>
                <a:lnTo>
                  <a:pt x="0" y="85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69" name="Freeform 190"/>
          <p:cNvSpPr>
            <a:spLocks noEditPoints="1"/>
          </p:cNvSpPr>
          <p:nvPr/>
        </p:nvSpPr>
        <p:spPr bwMode="gray">
          <a:xfrm>
            <a:off x="5099855" y="5328105"/>
            <a:ext cx="30117" cy="10962"/>
          </a:xfrm>
          <a:custGeom>
            <a:avLst/>
            <a:gdLst>
              <a:gd name="T0" fmla="*/ 0 w 22"/>
              <a:gd name="T1" fmla="*/ 0 h 9"/>
              <a:gd name="T2" fmla="*/ 5 w 22"/>
              <a:gd name="T3" fmla="*/ 4 h 9"/>
              <a:gd name="T4" fmla="*/ 9 w 22"/>
              <a:gd name="T5" fmla="*/ 0 h 9"/>
              <a:gd name="T6" fmla="*/ 5 w 22"/>
              <a:gd name="T7" fmla="*/ 0 h 9"/>
              <a:gd name="T8" fmla="*/ 0 w 22"/>
              <a:gd name="T9" fmla="*/ 0 h 9"/>
              <a:gd name="T10" fmla="*/ 14 w 22"/>
              <a:gd name="T11" fmla="*/ 4 h 9"/>
              <a:gd name="T12" fmla="*/ 18 w 22"/>
              <a:gd name="T13" fmla="*/ 9 h 9"/>
              <a:gd name="T14" fmla="*/ 22 w 22"/>
              <a:gd name="T15" fmla="*/ 9 h 9"/>
              <a:gd name="T16" fmla="*/ 18 w 22"/>
              <a:gd name="T17" fmla="*/ 4 h 9"/>
              <a:gd name="T18" fmla="*/ 14 w 22"/>
              <a:gd name="T19" fmla="*/ 4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2"/>
              <a:gd name="T31" fmla="*/ 0 h 9"/>
              <a:gd name="T32" fmla="*/ 22 w 22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2" h="9">
                <a:moveTo>
                  <a:pt x="0" y="0"/>
                </a:moveTo>
                <a:lnTo>
                  <a:pt x="5" y="4"/>
                </a:lnTo>
                <a:lnTo>
                  <a:pt x="9" y="0"/>
                </a:lnTo>
                <a:lnTo>
                  <a:pt x="5" y="0"/>
                </a:lnTo>
                <a:lnTo>
                  <a:pt x="0" y="0"/>
                </a:lnTo>
                <a:close/>
                <a:moveTo>
                  <a:pt x="14" y="4"/>
                </a:moveTo>
                <a:lnTo>
                  <a:pt x="18" y="9"/>
                </a:lnTo>
                <a:lnTo>
                  <a:pt x="22" y="9"/>
                </a:lnTo>
                <a:lnTo>
                  <a:pt x="18" y="4"/>
                </a:lnTo>
                <a:lnTo>
                  <a:pt x="14" y="4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70" name="Freeform 191"/>
          <p:cNvSpPr>
            <a:spLocks noEditPoints="1"/>
          </p:cNvSpPr>
          <p:nvPr/>
        </p:nvSpPr>
        <p:spPr bwMode="gray">
          <a:xfrm>
            <a:off x="2262001" y="4761760"/>
            <a:ext cx="239568" cy="109615"/>
          </a:xfrm>
          <a:custGeom>
            <a:avLst/>
            <a:gdLst>
              <a:gd name="T0" fmla="*/ 5 w 175"/>
              <a:gd name="T1" fmla="*/ 27 h 90"/>
              <a:gd name="T2" fmla="*/ 5 w 175"/>
              <a:gd name="T3" fmla="*/ 40 h 90"/>
              <a:gd name="T4" fmla="*/ 0 w 175"/>
              <a:gd name="T5" fmla="*/ 36 h 90"/>
              <a:gd name="T6" fmla="*/ 0 w 175"/>
              <a:gd name="T7" fmla="*/ 40 h 90"/>
              <a:gd name="T8" fmla="*/ 5 w 175"/>
              <a:gd name="T9" fmla="*/ 54 h 90"/>
              <a:gd name="T10" fmla="*/ 5 w 175"/>
              <a:gd name="T11" fmla="*/ 58 h 90"/>
              <a:gd name="T12" fmla="*/ 9 w 175"/>
              <a:gd name="T13" fmla="*/ 67 h 90"/>
              <a:gd name="T14" fmla="*/ 9 w 175"/>
              <a:gd name="T15" fmla="*/ 72 h 90"/>
              <a:gd name="T16" fmla="*/ 18 w 175"/>
              <a:gd name="T17" fmla="*/ 85 h 90"/>
              <a:gd name="T18" fmla="*/ 18 w 175"/>
              <a:gd name="T19" fmla="*/ 90 h 90"/>
              <a:gd name="T20" fmla="*/ 36 w 175"/>
              <a:gd name="T21" fmla="*/ 85 h 90"/>
              <a:gd name="T22" fmla="*/ 54 w 175"/>
              <a:gd name="T23" fmla="*/ 72 h 90"/>
              <a:gd name="T24" fmla="*/ 67 w 175"/>
              <a:gd name="T25" fmla="*/ 72 h 90"/>
              <a:gd name="T26" fmla="*/ 81 w 175"/>
              <a:gd name="T27" fmla="*/ 63 h 90"/>
              <a:gd name="T28" fmla="*/ 94 w 175"/>
              <a:gd name="T29" fmla="*/ 63 h 90"/>
              <a:gd name="T30" fmla="*/ 103 w 175"/>
              <a:gd name="T31" fmla="*/ 54 h 90"/>
              <a:gd name="T32" fmla="*/ 143 w 175"/>
              <a:gd name="T33" fmla="*/ 40 h 90"/>
              <a:gd name="T34" fmla="*/ 139 w 175"/>
              <a:gd name="T35" fmla="*/ 31 h 90"/>
              <a:gd name="T36" fmla="*/ 152 w 175"/>
              <a:gd name="T37" fmla="*/ 22 h 90"/>
              <a:gd name="T38" fmla="*/ 148 w 175"/>
              <a:gd name="T39" fmla="*/ 0 h 90"/>
              <a:gd name="T40" fmla="*/ 135 w 175"/>
              <a:gd name="T41" fmla="*/ 14 h 90"/>
              <a:gd name="T42" fmla="*/ 112 w 175"/>
              <a:gd name="T43" fmla="*/ 18 h 90"/>
              <a:gd name="T44" fmla="*/ 41 w 175"/>
              <a:gd name="T45" fmla="*/ 45 h 90"/>
              <a:gd name="T46" fmla="*/ 45 w 175"/>
              <a:gd name="T47" fmla="*/ 22 h 90"/>
              <a:gd name="T48" fmla="*/ 14 w 175"/>
              <a:gd name="T49" fmla="*/ 14 h 90"/>
              <a:gd name="T50" fmla="*/ 9 w 175"/>
              <a:gd name="T51" fmla="*/ 27 h 90"/>
              <a:gd name="T52" fmla="*/ 5 w 175"/>
              <a:gd name="T53" fmla="*/ 27 h 90"/>
              <a:gd name="T54" fmla="*/ 157 w 175"/>
              <a:gd name="T55" fmla="*/ 85 h 90"/>
              <a:gd name="T56" fmla="*/ 166 w 175"/>
              <a:gd name="T57" fmla="*/ 90 h 90"/>
              <a:gd name="T58" fmla="*/ 175 w 175"/>
              <a:gd name="T59" fmla="*/ 85 h 90"/>
              <a:gd name="T60" fmla="*/ 161 w 175"/>
              <a:gd name="T61" fmla="*/ 81 h 90"/>
              <a:gd name="T62" fmla="*/ 157 w 175"/>
              <a:gd name="T63" fmla="*/ 85 h 9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75"/>
              <a:gd name="T97" fmla="*/ 0 h 90"/>
              <a:gd name="T98" fmla="*/ 175 w 175"/>
              <a:gd name="T99" fmla="*/ 90 h 9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75" h="90">
                <a:moveTo>
                  <a:pt x="5" y="27"/>
                </a:moveTo>
                <a:lnTo>
                  <a:pt x="5" y="40"/>
                </a:lnTo>
                <a:lnTo>
                  <a:pt x="0" y="36"/>
                </a:lnTo>
                <a:lnTo>
                  <a:pt x="0" y="40"/>
                </a:lnTo>
                <a:lnTo>
                  <a:pt x="5" y="54"/>
                </a:lnTo>
                <a:lnTo>
                  <a:pt x="5" y="58"/>
                </a:lnTo>
                <a:lnTo>
                  <a:pt x="9" y="67"/>
                </a:lnTo>
                <a:lnTo>
                  <a:pt x="9" y="72"/>
                </a:lnTo>
                <a:lnTo>
                  <a:pt x="18" y="85"/>
                </a:lnTo>
                <a:lnTo>
                  <a:pt x="18" y="90"/>
                </a:lnTo>
                <a:lnTo>
                  <a:pt x="36" y="85"/>
                </a:lnTo>
                <a:lnTo>
                  <a:pt x="54" y="72"/>
                </a:lnTo>
                <a:lnTo>
                  <a:pt x="67" y="72"/>
                </a:lnTo>
                <a:lnTo>
                  <a:pt x="81" y="63"/>
                </a:lnTo>
                <a:lnTo>
                  <a:pt x="94" y="63"/>
                </a:lnTo>
                <a:lnTo>
                  <a:pt x="103" y="54"/>
                </a:lnTo>
                <a:lnTo>
                  <a:pt x="143" y="40"/>
                </a:lnTo>
                <a:lnTo>
                  <a:pt x="139" y="31"/>
                </a:lnTo>
                <a:lnTo>
                  <a:pt x="152" y="22"/>
                </a:lnTo>
                <a:lnTo>
                  <a:pt x="148" y="0"/>
                </a:lnTo>
                <a:lnTo>
                  <a:pt x="135" y="14"/>
                </a:lnTo>
                <a:lnTo>
                  <a:pt x="112" y="18"/>
                </a:lnTo>
                <a:lnTo>
                  <a:pt x="41" y="45"/>
                </a:lnTo>
                <a:lnTo>
                  <a:pt x="45" y="22"/>
                </a:lnTo>
                <a:lnTo>
                  <a:pt x="14" y="14"/>
                </a:lnTo>
                <a:lnTo>
                  <a:pt x="9" y="27"/>
                </a:lnTo>
                <a:lnTo>
                  <a:pt x="5" y="27"/>
                </a:lnTo>
                <a:close/>
                <a:moveTo>
                  <a:pt x="157" y="85"/>
                </a:moveTo>
                <a:lnTo>
                  <a:pt x="166" y="90"/>
                </a:lnTo>
                <a:lnTo>
                  <a:pt x="175" y="85"/>
                </a:lnTo>
                <a:lnTo>
                  <a:pt x="161" y="81"/>
                </a:lnTo>
                <a:lnTo>
                  <a:pt x="157" y="85"/>
                </a:lnTo>
                <a:close/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71" name="Freeform 192"/>
          <p:cNvSpPr>
            <a:spLocks/>
          </p:cNvSpPr>
          <p:nvPr/>
        </p:nvSpPr>
        <p:spPr bwMode="gray">
          <a:xfrm>
            <a:off x="5099855" y="5328105"/>
            <a:ext cx="12321" cy="4872"/>
          </a:xfrm>
          <a:custGeom>
            <a:avLst/>
            <a:gdLst>
              <a:gd name="T0" fmla="*/ 0 w 9"/>
              <a:gd name="T1" fmla="*/ 0 h 4"/>
              <a:gd name="T2" fmla="*/ 5 w 9"/>
              <a:gd name="T3" fmla="*/ 4 h 4"/>
              <a:gd name="T4" fmla="*/ 9 w 9"/>
              <a:gd name="T5" fmla="*/ 0 h 4"/>
              <a:gd name="T6" fmla="*/ 5 w 9"/>
              <a:gd name="T7" fmla="*/ 0 h 4"/>
              <a:gd name="T8" fmla="*/ 0 w 9"/>
              <a:gd name="T9" fmla="*/ 0 h 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4"/>
              <a:gd name="T17" fmla="*/ 9 w 9"/>
              <a:gd name="T18" fmla="*/ 4 h 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4">
                <a:moveTo>
                  <a:pt x="0" y="0"/>
                </a:moveTo>
                <a:lnTo>
                  <a:pt x="5" y="4"/>
                </a:lnTo>
                <a:lnTo>
                  <a:pt x="9" y="0"/>
                </a:lnTo>
                <a:lnTo>
                  <a:pt x="5" y="0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sp>
        <p:nvSpPr>
          <p:cNvPr id="272" name="Freeform 193"/>
          <p:cNvSpPr>
            <a:spLocks/>
          </p:cNvSpPr>
          <p:nvPr/>
        </p:nvSpPr>
        <p:spPr bwMode="gray">
          <a:xfrm>
            <a:off x="5119020" y="5332976"/>
            <a:ext cx="10952" cy="6090"/>
          </a:xfrm>
          <a:custGeom>
            <a:avLst/>
            <a:gdLst>
              <a:gd name="T0" fmla="*/ 0 w 8"/>
              <a:gd name="T1" fmla="*/ 0 h 5"/>
              <a:gd name="T2" fmla="*/ 4 w 8"/>
              <a:gd name="T3" fmla="*/ 5 h 5"/>
              <a:gd name="T4" fmla="*/ 8 w 8"/>
              <a:gd name="T5" fmla="*/ 5 h 5"/>
              <a:gd name="T6" fmla="*/ 4 w 8"/>
              <a:gd name="T7" fmla="*/ 0 h 5"/>
              <a:gd name="T8" fmla="*/ 0 w 8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5"/>
              <a:gd name="T17" fmla="*/ 8 w 8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5">
                <a:moveTo>
                  <a:pt x="0" y="0"/>
                </a:moveTo>
                <a:lnTo>
                  <a:pt x="4" y="5"/>
                </a:lnTo>
                <a:lnTo>
                  <a:pt x="8" y="5"/>
                </a:lnTo>
                <a:lnTo>
                  <a:pt x="4" y="0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3175">
            <a:solidFill>
              <a:srgbClr val="C0C0C0"/>
            </a:solidFill>
            <a:round/>
            <a:headEnd/>
            <a:tailEnd/>
          </a:ln>
        </p:spPr>
        <p:txBody>
          <a:bodyPr/>
          <a:lstStyle/>
          <a:p>
            <a:endParaRPr lang="en-US" sz="900"/>
          </a:p>
        </p:txBody>
      </p:sp>
      <p:grpSp>
        <p:nvGrpSpPr>
          <p:cNvPr id="4" name="Group 195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3644900" y="5284783"/>
            <a:ext cx="1462088" cy="744538"/>
            <a:chOff x="4304" y="2940"/>
            <a:chExt cx="1068" cy="612"/>
          </a:xfrm>
        </p:grpSpPr>
        <p:sp>
          <p:nvSpPr>
            <p:cNvPr id="274" name="Freeform 196"/>
            <p:cNvSpPr>
              <a:spLocks noEditPoints="1"/>
            </p:cNvSpPr>
            <p:nvPr/>
          </p:nvSpPr>
          <p:spPr bwMode="gray">
            <a:xfrm>
              <a:off x="4304" y="2940"/>
              <a:ext cx="581" cy="550"/>
            </a:xfrm>
            <a:custGeom>
              <a:avLst/>
              <a:gdLst>
                <a:gd name="T0" fmla="*/ 116 w 581"/>
                <a:gd name="T1" fmla="*/ 134 h 550"/>
                <a:gd name="T2" fmla="*/ 54 w 581"/>
                <a:gd name="T3" fmla="*/ 152 h 550"/>
                <a:gd name="T4" fmla="*/ 13 w 581"/>
                <a:gd name="T5" fmla="*/ 165 h 550"/>
                <a:gd name="T6" fmla="*/ 4 w 581"/>
                <a:gd name="T7" fmla="*/ 210 h 550"/>
                <a:gd name="T8" fmla="*/ 9 w 581"/>
                <a:gd name="T9" fmla="*/ 228 h 550"/>
                <a:gd name="T10" fmla="*/ 13 w 581"/>
                <a:gd name="T11" fmla="*/ 268 h 550"/>
                <a:gd name="T12" fmla="*/ 40 w 581"/>
                <a:gd name="T13" fmla="*/ 331 h 550"/>
                <a:gd name="T14" fmla="*/ 31 w 581"/>
                <a:gd name="T15" fmla="*/ 376 h 550"/>
                <a:gd name="T16" fmla="*/ 80 w 581"/>
                <a:gd name="T17" fmla="*/ 380 h 550"/>
                <a:gd name="T18" fmla="*/ 147 w 581"/>
                <a:gd name="T19" fmla="*/ 367 h 550"/>
                <a:gd name="T20" fmla="*/ 259 w 581"/>
                <a:gd name="T21" fmla="*/ 326 h 550"/>
                <a:gd name="T22" fmla="*/ 304 w 581"/>
                <a:gd name="T23" fmla="*/ 353 h 550"/>
                <a:gd name="T24" fmla="*/ 322 w 581"/>
                <a:gd name="T25" fmla="*/ 380 h 550"/>
                <a:gd name="T26" fmla="*/ 331 w 581"/>
                <a:gd name="T27" fmla="*/ 380 h 550"/>
                <a:gd name="T28" fmla="*/ 357 w 581"/>
                <a:gd name="T29" fmla="*/ 340 h 550"/>
                <a:gd name="T30" fmla="*/ 344 w 581"/>
                <a:gd name="T31" fmla="*/ 384 h 550"/>
                <a:gd name="T32" fmla="*/ 353 w 581"/>
                <a:gd name="T33" fmla="*/ 389 h 550"/>
                <a:gd name="T34" fmla="*/ 357 w 581"/>
                <a:gd name="T35" fmla="*/ 398 h 550"/>
                <a:gd name="T36" fmla="*/ 353 w 581"/>
                <a:gd name="T37" fmla="*/ 411 h 550"/>
                <a:gd name="T38" fmla="*/ 375 w 581"/>
                <a:gd name="T39" fmla="*/ 402 h 550"/>
                <a:gd name="T40" fmla="*/ 380 w 581"/>
                <a:gd name="T41" fmla="*/ 434 h 550"/>
                <a:gd name="T42" fmla="*/ 447 w 581"/>
                <a:gd name="T43" fmla="*/ 451 h 550"/>
                <a:gd name="T44" fmla="*/ 469 w 581"/>
                <a:gd name="T45" fmla="*/ 465 h 550"/>
                <a:gd name="T46" fmla="*/ 478 w 581"/>
                <a:gd name="T47" fmla="*/ 460 h 550"/>
                <a:gd name="T48" fmla="*/ 532 w 581"/>
                <a:gd name="T49" fmla="*/ 434 h 550"/>
                <a:gd name="T50" fmla="*/ 554 w 581"/>
                <a:gd name="T51" fmla="*/ 353 h 550"/>
                <a:gd name="T52" fmla="*/ 572 w 581"/>
                <a:gd name="T53" fmla="*/ 233 h 550"/>
                <a:gd name="T54" fmla="*/ 536 w 581"/>
                <a:gd name="T55" fmla="*/ 192 h 550"/>
                <a:gd name="T56" fmla="*/ 532 w 581"/>
                <a:gd name="T57" fmla="*/ 170 h 550"/>
                <a:gd name="T58" fmla="*/ 518 w 581"/>
                <a:gd name="T59" fmla="*/ 165 h 550"/>
                <a:gd name="T60" fmla="*/ 482 w 581"/>
                <a:gd name="T61" fmla="*/ 130 h 550"/>
                <a:gd name="T62" fmla="*/ 465 w 581"/>
                <a:gd name="T63" fmla="*/ 85 h 550"/>
                <a:gd name="T64" fmla="*/ 442 w 581"/>
                <a:gd name="T65" fmla="*/ 54 h 550"/>
                <a:gd name="T66" fmla="*/ 424 w 581"/>
                <a:gd name="T67" fmla="*/ 14 h 550"/>
                <a:gd name="T68" fmla="*/ 411 w 581"/>
                <a:gd name="T69" fmla="*/ 5 h 550"/>
                <a:gd name="T70" fmla="*/ 398 w 581"/>
                <a:gd name="T71" fmla="*/ 98 h 550"/>
                <a:gd name="T72" fmla="*/ 322 w 581"/>
                <a:gd name="T73" fmla="*/ 58 h 550"/>
                <a:gd name="T74" fmla="*/ 331 w 581"/>
                <a:gd name="T75" fmla="*/ 14 h 550"/>
                <a:gd name="T76" fmla="*/ 277 w 581"/>
                <a:gd name="T77" fmla="*/ 9 h 550"/>
                <a:gd name="T78" fmla="*/ 272 w 581"/>
                <a:gd name="T79" fmla="*/ 14 h 550"/>
                <a:gd name="T80" fmla="*/ 255 w 581"/>
                <a:gd name="T81" fmla="*/ 22 h 550"/>
                <a:gd name="T82" fmla="*/ 228 w 581"/>
                <a:gd name="T83" fmla="*/ 63 h 550"/>
                <a:gd name="T84" fmla="*/ 214 w 581"/>
                <a:gd name="T85" fmla="*/ 58 h 550"/>
                <a:gd name="T86" fmla="*/ 183 w 581"/>
                <a:gd name="T87" fmla="*/ 58 h 550"/>
                <a:gd name="T88" fmla="*/ 161 w 581"/>
                <a:gd name="T89" fmla="*/ 85 h 550"/>
                <a:gd name="T90" fmla="*/ 147 w 581"/>
                <a:gd name="T91" fmla="*/ 98 h 550"/>
                <a:gd name="T92" fmla="*/ 130 w 581"/>
                <a:gd name="T93" fmla="*/ 107 h 550"/>
                <a:gd name="T94" fmla="*/ 465 w 581"/>
                <a:gd name="T95" fmla="*/ 527 h 550"/>
                <a:gd name="T96" fmla="*/ 487 w 581"/>
                <a:gd name="T97" fmla="*/ 550 h 550"/>
                <a:gd name="T98" fmla="*/ 496 w 581"/>
                <a:gd name="T99" fmla="*/ 532 h 550"/>
                <a:gd name="T100" fmla="*/ 505 w 581"/>
                <a:gd name="T101" fmla="*/ 496 h 550"/>
                <a:gd name="T102" fmla="*/ 474 w 581"/>
                <a:gd name="T103" fmla="*/ 501 h 5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81"/>
                <a:gd name="T157" fmla="*/ 0 h 550"/>
                <a:gd name="T158" fmla="*/ 581 w 581"/>
                <a:gd name="T159" fmla="*/ 550 h 5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81" h="550">
                  <a:moveTo>
                    <a:pt x="130" y="107"/>
                  </a:moveTo>
                  <a:lnTo>
                    <a:pt x="134" y="107"/>
                  </a:lnTo>
                  <a:lnTo>
                    <a:pt x="116" y="134"/>
                  </a:lnTo>
                  <a:lnTo>
                    <a:pt x="80" y="143"/>
                  </a:lnTo>
                  <a:lnTo>
                    <a:pt x="63" y="152"/>
                  </a:lnTo>
                  <a:lnTo>
                    <a:pt x="54" y="152"/>
                  </a:lnTo>
                  <a:lnTo>
                    <a:pt x="27" y="165"/>
                  </a:lnTo>
                  <a:lnTo>
                    <a:pt x="13" y="183"/>
                  </a:lnTo>
                  <a:lnTo>
                    <a:pt x="13" y="165"/>
                  </a:lnTo>
                  <a:lnTo>
                    <a:pt x="9" y="179"/>
                  </a:lnTo>
                  <a:lnTo>
                    <a:pt x="9" y="197"/>
                  </a:lnTo>
                  <a:lnTo>
                    <a:pt x="4" y="210"/>
                  </a:lnTo>
                  <a:lnTo>
                    <a:pt x="18" y="233"/>
                  </a:lnTo>
                  <a:lnTo>
                    <a:pt x="18" y="241"/>
                  </a:lnTo>
                  <a:lnTo>
                    <a:pt x="9" y="228"/>
                  </a:lnTo>
                  <a:lnTo>
                    <a:pt x="0" y="228"/>
                  </a:lnTo>
                  <a:lnTo>
                    <a:pt x="4" y="241"/>
                  </a:lnTo>
                  <a:lnTo>
                    <a:pt x="13" y="268"/>
                  </a:lnTo>
                  <a:lnTo>
                    <a:pt x="31" y="291"/>
                  </a:lnTo>
                  <a:lnTo>
                    <a:pt x="31" y="308"/>
                  </a:lnTo>
                  <a:lnTo>
                    <a:pt x="40" y="331"/>
                  </a:lnTo>
                  <a:lnTo>
                    <a:pt x="36" y="358"/>
                  </a:lnTo>
                  <a:lnTo>
                    <a:pt x="27" y="362"/>
                  </a:lnTo>
                  <a:lnTo>
                    <a:pt x="31" y="376"/>
                  </a:lnTo>
                  <a:lnTo>
                    <a:pt x="54" y="389"/>
                  </a:lnTo>
                  <a:lnTo>
                    <a:pt x="76" y="389"/>
                  </a:lnTo>
                  <a:lnTo>
                    <a:pt x="80" y="380"/>
                  </a:lnTo>
                  <a:lnTo>
                    <a:pt x="94" y="380"/>
                  </a:lnTo>
                  <a:lnTo>
                    <a:pt x="98" y="367"/>
                  </a:lnTo>
                  <a:lnTo>
                    <a:pt x="147" y="367"/>
                  </a:lnTo>
                  <a:lnTo>
                    <a:pt x="156" y="353"/>
                  </a:lnTo>
                  <a:lnTo>
                    <a:pt x="228" y="331"/>
                  </a:lnTo>
                  <a:lnTo>
                    <a:pt x="259" y="326"/>
                  </a:lnTo>
                  <a:lnTo>
                    <a:pt x="272" y="335"/>
                  </a:lnTo>
                  <a:lnTo>
                    <a:pt x="290" y="340"/>
                  </a:lnTo>
                  <a:lnTo>
                    <a:pt x="304" y="353"/>
                  </a:lnTo>
                  <a:lnTo>
                    <a:pt x="308" y="344"/>
                  </a:lnTo>
                  <a:lnTo>
                    <a:pt x="322" y="376"/>
                  </a:lnTo>
                  <a:lnTo>
                    <a:pt x="322" y="380"/>
                  </a:lnTo>
                  <a:lnTo>
                    <a:pt x="326" y="389"/>
                  </a:lnTo>
                  <a:lnTo>
                    <a:pt x="335" y="389"/>
                  </a:lnTo>
                  <a:lnTo>
                    <a:pt x="331" y="380"/>
                  </a:lnTo>
                  <a:lnTo>
                    <a:pt x="339" y="367"/>
                  </a:lnTo>
                  <a:lnTo>
                    <a:pt x="353" y="358"/>
                  </a:lnTo>
                  <a:lnTo>
                    <a:pt x="357" y="340"/>
                  </a:lnTo>
                  <a:lnTo>
                    <a:pt x="357" y="358"/>
                  </a:lnTo>
                  <a:lnTo>
                    <a:pt x="348" y="371"/>
                  </a:lnTo>
                  <a:lnTo>
                    <a:pt x="344" y="384"/>
                  </a:lnTo>
                  <a:lnTo>
                    <a:pt x="339" y="393"/>
                  </a:lnTo>
                  <a:lnTo>
                    <a:pt x="353" y="389"/>
                  </a:lnTo>
                  <a:lnTo>
                    <a:pt x="357" y="376"/>
                  </a:lnTo>
                  <a:lnTo>
                    <a:pt x="362" y="393"/>
                  </a:lnTo>
                  <a:lnTo>
                    <a:pt x="357" y="398"/>
                  </a:lnTo>
                  <a:lnTo>
                    <a:pt x="344" y="398"/>
                  </a:lnTo>
                  <a:lnTo>
                    <a:pt x="339" y="407"/>
                  </a:lnTo>
                  <a:lnTo>
                    <a:pt x="353" y="411"/>
                  </a:lnTo>
                  <a:lnTo>
                    <a:pt x="357" y="407"/>
                  </a:lnTo>
                  <a:lnTo>
                    <a:pt x="371" y="398"/>
                  </a:lnTo>
                  <a:lnTo>
                    <a:pt x="375" y="402"/>
                  </a:lnTo>
                  <a:lnTo>
                    <a:pt x="371" y="402"/>
                  </a:lnTo>
                  <a:lnTo>
                    <a:pt x="380" y="425"/>
                  </a:lnTo>
                  <a:lnTo>
                    <a:pt x="380" y="434"/>
                  </a:lnTo>
                  <a:lnTo>
                    <a:pt x="406" y="451"/>
                  </a:lnTo>
                  <a:lnTo>
                    <a:pt x="438" y="460"/>
                  </a:lnTo>
                  <a:lnTo>
                    <a:pt x="447" y="451"/>
                  </a:lnTo>
                  <a:lnTo>
                    <a:pt x="460" y="451"/>
                  </a:lnTo>
                  <a:lnTo>
                    <a:pt x="460" y="456"/>
                  </a:lnTo>
                  <a:lnTo>
                    <a:pt x="469" y="465"/>
                  </a:lnTo>
                  <a:lnTo>
                    <a:pt x="474" y="474"/>
                  </a:lnTo>
                  <a:lnTo>
                    <a:pt x="478" y="469"/>
                  </a:lnTo>
                  <a:lnTo>
                    <a:pt x="478" y="460"/>
                  </a:lnTo>
                  <a:lnTo>
                    <a:pt x="505" y="443"/>
                  </a:lnTo>
                  <a:lnTo>
                    <a:pt x="518" y="443"/>
                  </a:lnTo>
                  <a:lnTo>
                    <a:pt x="532" y="434"/>
                  </a:lnTo>
                  <a:lnTo>
                    <a:pt x="532" y="420"/>
                  </a:lnTo>
                  <a:lnTo>
                    <a:pt x="545" y="393"/>
                  </a:lnTo>
                  <a:lnTo>
                    <a:pt x="554" y="353"/>
                  </a:lnTo>
                  <a:lnTo>
                    <a:pt x="572" y="340"/>
                  </a:lnTo>
                  <a:lnTo>
                    <a:pt x="581" y="273"/>
                  </a:lnTo>
                  <a:lnTo>
                    <a:pt x="572" y="233"/>
                  </a:lnTo>
                  <a:lnTo>
                    <a:pt x="558" y="201"/>
                  </a:lnTo>
                  <a:lnTo>
                    <a:pt x="545" y="201"/>
                  </a:lnTo>
                  <a:lnTo>
                    <a:pt x="536" y="192"/>
                  </a:lnTo>
                  <a:lnTo>
                    <a:pt x="541" y="192"/>
                  </a:lnTo>
                  <a:lnTo>
                    <a:pt x="541" y="179"/>
                  </a:lnTo>
                  <a:lnTo>
                    <a:pt x="532" y="170"/>
                  </a:lnTo>
                  <a:lnTo>
                    <a:pt x="532" y="183"/>
                  </a:lnTo>
                  <a:lnTo>
                    <a:pt x="523" y="183"/>
                  </a:lnTo>
                  <a:lnTo>
                    <a:pt x="518" y="165"/>
                  </a:lnTo>
                  <a:lnTo>
                    <a:pt x="509" y="152"/>
                  </a:lnTo>
                  <a:lnTo>
                    <a:pt x="509" y="148"/>
                  </a:lnTo>
                  <a:lnTo>
                    <a:pt x="482" y="130"/>
                  </a:lnTo>
                  <a:lnTo>
                    <a:pt x="474" y="112"/>
                  </a:lnTo>
                  <a:lnTo>
                    <a:pt x="474" y="90"/>
                  </a:lnTo>
                  <a:lnTo>
                    <a:pt x="465" y="85"/>
                  </a:lnTo>
                  <a:lnTo>
                    <a:pt x="465" y="63"/>
                  </a:lnTo>
                  <a:lnTo>
                    <a:pt x="451" y="49"/>
                  </a:lnTo>
                  <a:lnTo>
                    <a:pt x="442" y="54"/>
                  </a:lnTo>
                  <a:lnTo>
                    <a:pt x="433" y="40"/>
                  </a:lnTo>
                  <a:lnTo>
                    <a:pt x="438" y="27"/>
                  </a:lnTo>
                  <a:lnTo>
                    <a:pt x="424" y="14"/>
                  </a:lnTo>
                  <a:lnTo>
                    <a:pt x="424" y="0"/>
                  </a:lnTo>
                  <a:lnTo>
                    <a:pt x="415" y="0"/>
                  </a:lnTo>
                  <a:lnTo>
                    <a:pt x="411" y="5"/>
                  </a:lnTo>
                  <a:lnTo>
                    <a:pt x="406" y="40"/>
                  </a:lnTo>
                  <a:lnTo>
                    <a:pt x="406" y="72"/>
                  </a:lnTo>
                  <a:lnTo>
                    <a:pt x="398" y="98"/>
                  </a:lnTo>
                  <a:lnTo>
                    <a:pt x="384" y="103"/>
                  </a:lnTo>
                  <a:lnTo>
                    <a:pt x="339" y="76"/>
                  </a:lnTo>
                  <a:lnTo>
                    <a:pt x="322" y="58"/>
                  </a:lnTo>
                  <a:lnTo>
                    <a:pt x="326" y="45"/>
                  </a:lnTo>
                  <a:lnTo>
                    <a:pt x="339" y="22"/>
                  </a:lnTo>
                  <a:lnTo>
                    <a:pt x="331" y="14"/>
                  </a:lnTo>
                  <a:lnTo>
                    <a:pt x="317" y="18"/>
                  </a:lnTo>
                  <a:lnTo>
                    <a:pt x="295" y="18"/>
                  </a:lnTo>
                  <a:lnTo>
                    <a:pt x="277" y="9"/>
                  </a:lnTo>
                  <a:lnTo>
                    <a:pt x="241" y="9"/>
                  </a:lnTo>
                  <a:lnTo>
                    <a:pt x="241" y="18"/>
                  </a:lnTo>
                  <a:lnTo>
                    <a:pt x="272" y="14"/>
                  </a:lnTo>
                  <a:lnTo>
                    <a:pt x="281" y="22"/>
                  </a:lnTo>
                  <a:lnTo>
                    <a:pt x="277" y="27"/>
                  </a:lnTo>
                  <a:lnTo>
                    <a:pt x="255" y="22"/>
                  </a:lnTo>
                  <a:lnTo>
                    <a:pt x="232" y="49"/>
                  </a:lnTo>
                  <a:lnTo>
                    <a:pt x="241" y="72"/>
                  </a:lnTo>
                  <a:lnTo>
                    <a:pt x="228" y="63"/>
                  </a:lnTo>
                  <a:lnTo>
                    <a:pt x="219" y="63"/>
                  </a:lnTo>
                  <a:lnTo>
                    <a:pt x="214" y="72"/>
                  </a:lnTo>
                  <a:lnTo>
                    <a:pt x="214" y="58"/>
                  </a:lnTo>
                  <a:lnTo>
                    <a:pt x="205" y="45"/>
                  </a:lnTo>
                  <a:lnTo>
                    <a:pt x="188" y="45"/>
                  </a:lnTo>
                  <a:lnTo>
                    <a:pt x="183" y="58"/>
                  </a:lnTo>
                  <a:lnTo>
                    <a:pt x="179" y="54"/>
                  </a:lnTo>
                  <a:lnTo>
                    <a:pt x="165" y="67"/>
                  </a:lnTo>
                  <a:lnTo>
                    <a:pt x="161" y="85"/>
                  </a:lnTo>
                  <a:lnTo>
                    <a:pt x="152" y="81"/>
                  </a:lnTo>
                  <a:lnTo>
                    <a:pt x="147" y="81"/>
                  </a:lnTo>
                  <a:lnTo>
                    <a:pt x="147" y="98"/>
                  </a:lnTo>
                  <a:lnTo>
                    <a:pt x="138" y="81"/>
                  </a:lnTo>
                  <a:lnTo>
                    <a:pt x="130" y="94"/>
                  </a:lnTo>
                  <a:lnTo>
                    <a:pt x="130" y="107"/>
                  </a:lnTo>
                  <a:close/>
                  <a:moveTo>
                    <a:pt x="451" y="492"/>
                  </a:moveTo>
                  <a:lnTo>
                    <a:pt x="451" y="501"/>
                  </a:lnTo>
                  <a:lnTo>
                    <a:pt x="465" y="527"/>
                  </a:lnTo>
                  <a:lnTo>
                    <a:pt x="460" y="527"/>
                  </a:lnTo>
                  <a:lnTo>
                    <a:pt x="474" y="550"/>
                  </a:lnTo>
                  <a:lnTo>
                    <a:pt x="487" y="550"/>
                  </a:lnTo>
                  <a:lnTo>
                    <a:pt x="491" y="536"/>
                  </a:lnTo>
                  <a:lnTo>
                    <a:pt x="505" y="545"/>
                  </a:lnTo>
                  <a:lnTo>
                    <a:pt x="496" y="532"/>
                  </a:lnTo>
                  <a:lnTo>
                    <a:pt x="505" y="523"/>
                  </a:lnTo>
                  <a:lnTo>
                    <a:pt x="509" y="523"/>
                  </a:lnTo>
                  <a:lnTo>
                    <a:pt x="505" y="496"/>
                  </a:lnTo>
                  <a:lnTo>
                    <a:pt x="500" y="492"/>
                  </a:lnTo>
                  <a:lnTo>
                    <a:pt x="487" y="496"/>
                  </a:lnTo>
                  <a:lnTo>
                    <a:pt x="474" y="501"/>
                  </a:lnTo>
                  <a:lnTo>
                    <a:pt x="451" y="49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75" name="Freeform 197"/>
            <p:cNvSpPr>
              <a:spLocks noEditPoints="1"/>
            </p:cNvSpPr>
            <p:nvPr/>
          </p:nvSpPr>
          <p:spPr bwMode="gray">
            <a:xfrm>
              <a:off x="5220" y="3016"/>
              <a:ext cx="40" cy="40"/>
            </a:xfrm>
            <a:custGeom>
              <a:avLst/>
              <a:gdLst>
                <a:gd name="T0" fmla="*/ 0 w 40"/>
                <a:gd name="T1" fmla="*/ 31 h 40"/>
                <a:gd name="T2" fmla="*/ 4 w 40"/>
                <a:gd name="T3" fmla="*/ 36 h 40"/>
                <a:gd name="T4" fmla="*/ 9 w 40"/>
                <a:gd name="T5" fmla="*/ 36 h 40"/>
                <a:gd name="T6" fmla="*/ 18 w 40"/>
                <a:gd name="T7" fmla="*/ 40 h 40"/>
                <a:gd name="T8" fmla="*/ 22 w 40"/>
                <a:gd name="T9" fmla="*/ 31 h 40"/>
                <a:gd name="T10" fmla="*/ 22 w 40"/>
                <a:gd name="T11" fmla="*/ 22 h 40"/>
                <a:gd name="T12" fmla="*/ 13 w 40"/>
                <a:gd name="T13" fmla="*/ 22 h 40"/>
                <a:gd name="T14" fmla="*/ 4 w 40"/>
                <a:gd name="T15" fmla="*/ 22 h 40"/>
                <a:gd name="T16" fmla="*/ 0 w 40"/>
                <a:gd name="T17" fmla="*/ 31 h 40"/>
                <a:gd name="T18" fmla="*/ 40 w 40"/>
                <a:gd name="T19" fmla="*/ 0 h 40"/>
                <a:gd name="T20" fmla="*/ 22 w 40"/>
                <a:gd name="T21" fmla="*/ 9 h 40"/>
                <a:gd name="T22" fmla="*/ 22 w 40"/>
                <a:gd name="T23" fmla="*/ 9 h 40"/>
                <a:gd name="T24" fmla="*/ 22 w 40"/>
                <a:gd name="T25" fmla="*/ 14 h 40"/>
                <a:gd name="T26" fmla="*/ 40 w 40"/>
                <a:gd name="T27" fmla="*/ 14 h 40"/>
                <a:gd name="T28" fmla="*/ 40 w 40"/>
                <a:gd name="T29" fmla="*/ 9 h 40"/>
                <a:gd name="T30" fmla="*/ 35 w 40"/>
                <a:gd name="T31" fmla="*/ 9 h 40"/>
                <a:gd name="T32" fmla="*/ 40 w 40"/>
                <a:gd name="T33" fmla="*/ 0 h 4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40"/>
                <a:gd name="T53" fmla="*/ 40 w 40"/>
                <a:gd name="T54" fmla="*/ 40 h 4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40">
                  <a:moveTo>
                    <a:pt x="0" y="31"/>
                  </a:moveTo>
                  <a:lnTo>
                    <a:pt x="4" y="36"/>
                  </a:lnTo>
                  <a:lnTo>
                    <a:pt x="9" y="36"/>
                  </a:lnTo>
                  <a:lnTo>
                    <a:pt x="18" y="40"/>
                  </a:lnTo>
                  <a:lnTo>
                    <a:pt x="22" y="31"/>
                  </a:lnTo>
                  <a:lnTo>
                    <a:pt x="22" y="22"/>
                  </a:lnTo>
                  <a:lnTo>
                    <a:pt x="13" y="22"/>
                  </a:lnTo>
                  <a:lnTo>
                    <a:pt x="4" y="22"/>
                  </a:lnTo>
                  <a:lnTo>
                    <a:pt x="0" y="31"/>
                  </a:lnTo>
                  <a:close/>
                  <a:moveTo>
                    <a:pt x="40" y="0"/>
                  </a:moveTo>
                  <a:lnTo>
                    <a:pt x="22" y="9"/>
                  </a:lnTo>
                  <a:lnTo>
                    <a:pt x="22" y="14"/>
                  </a:lnTo>
                  <a:lnTo>
                    <a:pt x="40" y="14"/>
                  </a:lnTo>
                  <a:lnTo>
                    <a:pt x="40" y="9"/>
                  </a:lnTo>
                  <a:lnTo>
                    <a:pt x="35" y="9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76" name="Freeform 198"/>
            <p:cNvSpPr>
              <a:spLocks noEditPoints="1"/>
            </p:cNvSpPr>
            <p:nvPr/>
          </p:nvSpPr>
          <p:spPr bwMode="gray">
            <a:xfrm>
              <a:off x="5068" y="3320"/>
              <a:ext cx="174" cy="232"/>
            </a:xfrm>
            <a:custGeom>
              <a:avLst/>
              <a:gdLst>
                <a:gd name="T0" fmla="*/ 85 w 174"/>
                <a:gd name="T1" fmla="*/ 107 h 232"/>
                <a:gd name="T2" fmla="*/ 76 w 174"/>
                <a:gd name="T3" fmla="*/ 116 h 232"/>
                <a:gd name="T4" fmla="*/ 76 w 174"/>
                <a:gd name="T5" fmla="*/ 130 h 232"/>
                <a:gd name="T6" fmla="*/ 71 w 174"/>
                <a:gd name="T7" fmla="*/ 130 h 232"/>
                <a:gd name="T8" fmla="*/ 62 w 174"/>
                <a:gd name="T9" fmla="*/ 156 h 232"/>
                <a:gd name="T10" fmla="*/ 27 w 174"/>
                <a:gd name="T11" fmla="*/ 179 h 232"/>
                <a:gd name="T12" fmla="*/ 0 w 174"/>
                <a:gd name="T13" fmla="*/ 206 h 232"/>
                <a:gd name="T14" fmla="*/ 0 w 174"/>
                <a:gd name="T15" fmla="*/ 219 h 232"/>
                <a:gd name="T16" fmla="*/ 4 w 174"/>
                <a:gd name="T17" fmla="*/ 223 h 232"/>
                <a:gd name="T18" fmla="*/ 18 w 174"/>
                <a:gd name="T19" fmla="*/ 223 h 232"/>
                <a:gd name="T20" fmla="*/ 40 w 174"/>
                <a:gd name="T21" fmla="*/ 232 h 232"/>
                <a:gd name="T22" fmla="*/ 49 w 174"/>
                <a:gd name="T23" fmla="*/ 228 h 232"/>
                <a:gd name="T24" fmla="*/ 62 w 174"/>
                <a:gd name="T25" fmla="*/ 219 h 232"/>
                <a:gd name="T26" fmla="*/ 71 w 174"/>
                <a:gd name="T27" fmla="*/ 179 h 232"/>
                <a:gd name="T28" fmla="*/ 94 w 174"/>
                <a:gd name="T29" fmla="*/ 170 h 232"/>
                <a:gd name="T30" fmla="*/ 89 w 174"/>
                <a:gd name="T31" fmla="*/ 156 h 232"/>
                <a:gd name="T32" fmla="*/ 98 w 174"/>
                <a:gd name="T33" fmla="*/ 152 h 232"/>
                <a:gd name="T34" fmla="*/ 107 w 174"/>
                <a:gd name="T35" fmla="*/ 130 h 232"/>
                <a:gd name="T36" fmla="*/ 103 w 174"/>
                <a:gd name="T37" fmla="*/ 121 h 232"/>
                <a:gd name="T38" fmla="*/ 98 w 174"/>
                <a:gd name="T39" fmla="*/ 125 h 232"/>
                <a:gd name="T40" fmla="*/ 85 w 174"/>
                <a:gd name="T41" fmla="*/ 112 h 232"/>
                <a:gd name="T42" fmla="*/ 94 w 174"/>
                <a:gd name="T43" fmla="*/ 107 h 232"/>
                <a:gd name="T44" fmla="*/ 85 w 174"/>
                <a:gd name="T45" fmla="*/ 107 h 232"/>
                <a:gd name="T46" fmla="*/ 174 w 174"/>
                <a:gd name="T47" fmla="*/ 54 h 232"/>
                <a:gd name="T48" fmla="*/ 165 w 174"/>
                <a:gd name="T49" fmla="*/ 54 h 232"/>
                <a:gd name="T50" fmla="*/ 156 w 174"/>
                <a:gd name="T51" fmla="*/ 63 h 232"/>
                <a:gd name="T52" fmla="*/ 134 w 174"/>
                <a:gd name="T53" fmla="*/ 54 h 232"/>
                <a:gd name="T54" fmla="*/ 134 w 174"/>
                <a:gd name="T55" fmla="*/ 45 h 232"/>
                <a:gd name="T56" fmla="*/ 129 w 174"/>
                <a:gd name="T57" fmla="*/ 36 h 232"/>
                <a:gd name="T58" fmla="*/ 125 w 174"/>
                <a:gd name="T59" fmla="*/ 36 h 232"/>
                <a:gd name="T60" fmla="*/ 125 w 174"/>
                <a:gd name="T61" fmla="*/ 49 h 232"/>
                <a:gd name="T62" fmla="*/ 120 w 174"/>
                <a:gd name="T63" fmla="*/ 36 h 232"/>
                <a:gd name="T64" fmla="*/ 112 w 174"/>
                <a:gd name="T65" fmla="*/ 13 h 232"/>
                <a:gd name="T66" fmla="*/ 98 w 174"/>
                <a:gd name="T67" fmla="*/ 4 h 232"/>
                <a:gd name="T68" fmla="*/ 89 w 174"/>
                <a:gd name="T69" fmla="*/ 0 h 232"/>
                <a:gd name="T70" fmla="*/ 89 w 174"/>
                <a:gd name="T71" fmla="*/ 9 h 232"/>
                <a:gd name="T72" fmla="*/ 107 w 174"/>
                <a:gd name="T73" fmla="*/ 36 h 232"/>
                <a:gd name="T74" fmla="*/ 116 w 174"/>
                <a:gd name="T75" fmla="*/ 54 h 232"/>
                <a:gd name="T76" fmla="*/ 112 w 174"/>
                <a:gd name="T77" fmla="*/ 80 h 232"/>
                <a:gd name="T78" fmla="*/ 103 w 174"/>
                <a:gd name="T79" fmla="*/ 80 h 232"/>
                <a:gd name="T80" fmla="*/ 103 w 174"/>
                <a:gd name="T81" fmla="*/ 85 h 232"/>
                <a:gd name="T82" fmla="*/ 120 w 174"/>
                <a:gd name="T83" fmla="*/ 103 h 232"/>
                <a:gd name="T84" fmla="*/ 116 w 174"/>
                <a:gd name="T85" fmla="*/ 121 h 232"/>
                <a:gd name="T86" fmla="*/ 112 w 174"/>
                <a:gd name="T87" fmla="*/ 130 h 232"/>
                <a:gd name="T88" fmla="*/ 125 w 174"/>
                <a:gd name="T89" fmla="*/ 134 h 232"/>
                <a:gd name="T90" fmla="*/ 152 w 174"/>
                <a:gd name="T91" fmla="*/ 94 h 232"/>
                <a:gd name="T92" fmla="*/ 147 w 174"/>
                <a:gd name="T93" fmla="*/ 89 h 232"/>
                <a:gd name="T94" fmla="*/ 161 w 174"/>
                <a:gd name="T95" fmla="*/ 85 h 232"/>
                <a:gd name="T96" fmla="*/ 165 w 174"/>
                <a:gd name="T97" fmla="*/ 89 h 232"/>
                <a:gd name="T98" fmla="*/ 165 w 174"/>
                <a:gd name="T99" fmla="*/ 80 h 232"/>
                <a:gd name="T100" fmla="*/ 170 w 174"/>
                <a:gd name="T101" fmla="*/ 76 h 232"/>
                <a:gd name="T102" fmla="*/ 174 w 174"/>
                <a:gd name="T103" fmla="*/ 54 h 23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4"/>
                <a:gd name="T157" fmla="*/ 0 h 232"/>
                <a:gd name="T158" fmla="*/ 174 w 174"/>
                <a:gd name="T159" fmla="*/ 232 h 23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4" h="232">
                  <a:moveTo>
                    <a:pt x="85" y="107"/>
                  </a:moveTo>
                  <a:lnTo>
                    <a:pt x="76" y="116"/>
                  </a:lnTo>
                  <a:lnTo>
                    <a:pt x="76" y="130"/>
                  </a:lnTo>
                  <a:lnTo>
                    <a:pt x="71" y="130"/>
                  </a:lnTo>
                  <a:lnTo>
                    <a:pt x="62" y="156"/>
                  </a:lnTo>
                  <a:lnTo>
                    <a:pt x="27" y="179"/>
                  </a:lnTo>
                  <a:lnTo>
                    <a:pt x="0" y="206"/>
                  </a:lnTo>
                  <a:lnTo>
                    <a:pt x="0" y="219"/>
                  </a:lnTo>
                  <a:lnTo>
                    <a:pt x="4" y="223"/>
                  </a:lnTo>
                  <a:lnTo>
                    <a:pt x="18" y="223"/>
                  </a:lnTo>
                  <a:lnTo>
                    <a:pt x="40" y="232"/>
                  </a:lnTo>
                  <a:lnTo>
                    <a:pt x="49" y="228"/>
                  </a:lnTo>
                  <a:lnTo>
                    <a:pt x="62" y="219"/>
                  </a:lnTo>
                  <a:lnTo>
                    <a:pt x="71" y="179"/>
                  </a:lnTo>
                  <a:lnTo>
                    <a:pt x="94" y="170"/>
                  </a:lnTo>
                  <a:lnTo>
                    <a:pt x="89" y="156"/>
                  </a:lnTo>
                  <a:lnTo>
                    <a:pt x="98" y="152"/>
                  </a:lnTo>
                  <a:lnTo>
                    <a:pt x="107" y="130"/>
                  </a:lnTo>
                  <a:lnTo>
                    <a:pt x="103" y="121"/>
                  </a:lnTo>
                  <a:lnTo>
                    <a:pt x="98" y="125"/>
                  </a:lnTo>
                  <a:lnTo>
                    <a:pt x="85" y="112"/>
                  </a:lnTo>
                  <a:lnTo>
                    <a:pt x="94" y="107"/>
                  </a:lnTo>
                  <a:lnTo>
                    <a:pt x="85" y="107"/>
                  </a:lnTo>
                  <a:close/>
                  <a:moveTo>
                    <a:pt x="174" y="54"/>
                  </a:moveTo>
                  <a:lnTo>
                    <a:pt x="165" y="54"/>
                  </a:lnTo>
                  <a:lnTo>
                    <a:pt x="156" y="63"/>
                  </a:lnTo>
                  <a:lnTo>
                    <a:pt x="134" y="54"/>
                  </a:lnTo>
                  <a:lnTo>
                    <a:pt x="134" y="45"/>
                  </a:lnTo>
                  <a:lnTo>
                    <a:pt x="129" y="36"/>
                  </a:lnTo>
                  <a:lnTo>
                    <a:pt x="125" y="36"/>
                  </a:lnTo>
                  <a:lnTo>
                    <a:pt x="125" y="49"/>
                  </a:lnTo>
                  <a:lnTo>
                    <a:pt x="120" y="36"/>
                  </a:lnTo>
                  <a:lnTo>
                    <a:pt x="112" y="13"/>
                  </a:lnTo>
                  <a:lnTo>
                    <a:pt x="98" y="4"/>
                  </a:lnTo>
                  <a:lnTo>
                    <a:pt x="89" y="0"/>
                  </a:lnTo>
                  <a:lnTo>
                    <a:pt x="89" y="9"/>
                  </a:lnTo>
                  <a:lnTo>
                    <a:pt x="107" y="36"/>
                  </a:lnTo>
                  <a:lnTo>
                    <a:pt x="116" y="54"/>
                  </a:lnTo>
                  <a:lnTo>
                    <a:pt x="112" y="80"/>
                  </a:lnTo>
                  <a:lnTo>
                    <a:pt x="103" y="80"/>
                  </a:lnTo>
                  <a:lnTo>
                    <a:pt x="103" y="85"/>
                  </a:lnTo>
                  <a:lnTo>
                    <a:pt x="120" y="103"/>
                  </a:lnTo>
                  <a:lnTo>
                    <a:pt x="116" y="121"/>
                  </a:lnTo>
                  <a:lnTo>
                    <a:pt x="112" y="130"/>
                  </a:lnTo>
                  <a:lnTo>
                    <a:pt x="125" y="134"/>
                  </a:lnTo>
                  <a:lnTo>
                    <a:pt x="152" y="94"/>
                  </a:lnTo>
                  <a:lnTo>
                    <a:pt x="147" y="89"/>
                  </a:lnTo>
                  <a:lnTo>
                    <a:pt x="161" y="85"/>
                  </a:lnTo>
                  <a:lnTo>
                    <a:pt x="165" y="89"/>
                  </a:lnTo>
                  <a:lnTo>
                    <a:pt x="165" y="80"/>
                  </a:lnTo>
                  <a:lnTo>
                    <a:pt x="170" y="76"/>
                  </a:lnTo>
                  <a:lnTo>
                    <a:pt x="174" y="5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77" name="Freeform 199"/>
            <p:cNvSpPr>
              <a:spLocks noEditPoints="1"/>
            </p:cNvSpPr>
            <p:nvPr/>
          </p:nvSpPr>
          <p:spPr bwMode="gray">
            <a:xfrm>
              <a:off x="5336" y="3070"/>
              <a:ext cx="36" cy="40"/>
            </a:xfrm>
            <a:custGeom>
              <a:avLst/>
              <a:gdLst>
                <a:gd name="T0" fmla="*/ 0 w 36"/>
                <a:gd name="T1" fmla="*/ 40 h 40"/>
                <a:gd name="T2" fmla="*/ 4 w 36"/>
                <a:gd name="T3" fmla="*/ 40 h 40"/>
                <a:gd name="T4" fmla="*/ 4 w 36"/>
                <a:gd name="T5" fmla="*/ 40 h 40"/>
                <a:gd name="T6" fmla="*/ 0 w 36"/>
                <a:gd name="T7" fmla="*/ 40 h 40"/>
                <a:gd name="T8" fmla="*/ 18 w 36"/>
                <a:gd name="T9" fmla="*/ 27 h 40"/>
                <a:gd name="T10" fmla="*/ 18 w 36"/>
                <a:gd name="T11" fmla="*/ 31 h 40"/>
                <a:gd name="T12" fmla="*/ 22 w 36"/>
                <a:gd name="T13" fmla="*/ 27 h 40"/>
                <a:gd name="T14" fmla="*/ 18 w 36"/>
                <a:gd name="T15" fmla="*/ 27 h 40"/>
                <a:gd name="T16" fmla="*/ 18 w 36"/>
                <a:gd name="T17" fmla="*/ 13 h 40"/>
                <a:gd name="T18" fmla="*/ 18 w 36"/>
                <a:gd name="T19" fmla="*/ 18 h 40"/>
                <a:gd name="T20" fmla="*/ 22 w 36"/>
                <a:gd name="T21" fmla="*/ 13 h 40"/>
                <a:gd name="T22" fmla="*/ 18 w 36"/>
                <a:gd name="T23" fmla="*/ 13 h 40"/>
                <a:gd name="T24" fmla="*/ 31 w 36"/>
                <a:gd name="T25" fmla="*/ 13 h 40"/>
                <a:gd name="T26" fmla="*/ 31 w 36"/>
                <a:gd name="T27" fmla="*/ 13 h 40"/>
                <a:gd name="T28" fmla="*/ 31 w 36"/>
                <a:gd name="T29" fmla="*/ 13 h 40"/>
                <a:gd name="T30" fmla="*/ 31 w 36"/>
                <a:gd name="T31" fmla="*/ 13 h 40"/>
                <a:gd name="T32" fmla="*/ 36 w 36"/>
                <a:gd name="T33" fmla="*/ 0 h 40"/>
                <a:gd name="T34" fmla="*/ 36 w 36"/>
                <a:gd name="T35" fmla="*/ 0 h 40"/>
                <a:gd name="T36" fmla="*/ 36 w 36"/>
                <a:gd name="T37" fmla="*/ 0 h 40"/>
                <a:gd name="T38" fmla="*/ 36 w 36"/>
                <a:gd name="T39" fmla="*/ 0 h 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6"/>
                <a:gd name="T61" fmla="*/ 0 h 40"/>
                <a:gd name="T62" fmla="*/ 36 w 36"/>
                <a:gd name="T63" fmla="*/ 40 h 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6" h="40">
                  <a:moveTo>
                    <a:pt x="0" y="40"/>
                  </a:moveTo>
                  <a:lnTo>
                    <a:pt x="4" y="40"/>
                  </a:lnTo>
                  <a:lnTo>
                    <a:pt x="0" y="40"/>
                  </a:lnTo>
                  <a:close/>
                  <a:moveTo>
                    <a:pt x="18" y="27"/>
                  </a:moveTo>
                  <a:lnTo>
                    <a:pt x="18" y="31"/>
                  </a:lnTo>
                  <a:lnTo>
                    <a:pt x="22" y="27"/>
                  </a:lnTo>
                  <a:lnTo>
                    <a:pt x="18" y="27"/>
                  </a:lnTo>
                  <a:close/>
                  <a:moveTo>
                    <a:pt x="18" y="13"/>
                  </a:moveTo>
                  <a:lnTo>
                    <a:pt x="18" y="18"/>
                  </a:lnTo>
                  <a:lnTo>
                    <a:pt x="22" y="13"/>
                  </a:lnTo>
                  <a:lnTo>
                    <a:pt x="18" y="13"/>
                  </a:lnTo>
                  <a:close/>
                  <a:moveTo>
                    <a:pt x="31" y="13"/>
                  </a:moveTo>
                  <a:lnTo>
                    <a:pt x="31" y="13"/>
                  </a:lnTo>
                  <a:close/>
                  <a:moveTo>
                    <a:pt x="36" y="0"/>
                  </a:moveTo>
                  <a:lnTo>
                    <a:pt x="36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</p:grpSp>
      <p:grpSp>
        <p:nvGrpSpPr>
          <p:cNvPr id="5" name="Group 200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947738" y="3254371"/>
            <a:ext cx="1357312" cy="1322387"/>
            <a:chOff x="2379" y="1273"/>
            <a:chExt cx="992" cy="1086"/>
          </a:xfrm>
        </p:grpSpPr>
        <p:sp>
          <p:nvSpPr>
            <p:cNvPr id="279" name="Freeform 201"/>
            <p:cNvSpPr>
              <a:spLocks/>
            </p:cNvSpPr>
            <p:nvPr/>
          </p:nvSpPr>
          <p:spPr bwMode="gray">
            <a:xfrm>
              <a:off x="3004" y="2091"/>
              <a:ext cx="27" cy="63"/>
            </a:xfrm>
            <a:custGeom>
              <a:avLst/>
              <a:gdLst>
                <a:gd name="T0" fmla="*/ 0 w 27"/>
                <a:gd name="T1" fmla="*/ 13 h 63"/>
                <a:gd name="T2" fmla="*/ 5 w 27"/>
                <a:gd name="T3" fmla="*/ 13 h 63"/>
                <a:gd name="T4" fmla="*/ 0 w 27"/>
                <a:gd name="T5" fmla="*/ 18 h 63"/>
                <a:gd name="T6" fmla="*/ 0 w 27"/>
                <a:gd name="T7" fmla="*/ 36 h 63"/>
                <a:gd name="T8" fmla="*/ 0 w 27"/>
                <a:gd name="T9" fmla="*/ 40 h 63"/>
                <a:gd name="T10" fmla="*/ 0 w 27"/>
                <a:gd name="T11" fmla="*/ 45 h 63"/>
                <a:gd name="T12" fmla="*/ 5 w 27"/>
                <a:gd name="T13" fmla="*/ 54 h 63"/>
                <a:gd name="T14" fmla="*/ 5 w 27"/>
                <a:gd name="T15" fmla="*/ 58 h 63"/>
                <a:gd name="T16" fmla="*/ 9 w 27"/>
                <a:gd name="T17" fmla="*/ 63 h 63"/>
                <a:gd name="T18" fmla="*/ 14 w 27"/>
                <a:gd name="T19" fmla="*/ 63 h 63"/>
                <a:gd name="T20" fmla="*/ 14 w 27"/>
                <a:gd name="T21" fmla="*/ 54 h 63"/>
                <a:gd name="T22" fmla="*/ 27 w 27"/>
                <a:gd name="T23" fmla="*/ 40 h 63"/>
                <a:gd name="T24" fmla="*/ 18 w 27"/>
                <a:gd name="T25" fmla="*/ 36 h 63"/>
                <a:gd name="T26" fmla="*/ 18 w 27"/>
                <a:gd name="T27" fmla="*/ 13 h 63"/>
                <a:gd name="T28" fmla="*/ 14 w 27"/>
                <a:gd name="T29" fmla="*/ 13 h 63"/>
                <a:gd name="T30" fmla="*/ 14 w 27"/>
                <a:gd name="T31" fmla="*/ 5 h 63"/>
                <a:gd name="T32" fmla="*/ 5 w 27"/>
                <a:gd name="T33" fmla="*/ 0 h 63"/>
                <a:gd name="T34" fmla="*/ 0 w 27"/>
                <a:gd name="T35" fmla="*/ 13 h 6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"/>
                <a:gd name="T55" fmla="*/ 0 h 63"/>
                <a:gd name="T56" fmla="*/ 27 w 27"/>
                <a:gd name="T57" fmla="*/ 63 h 6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" h="63">
                  <a:moveTo>
                    <a:pt x="0" y="13"/>
                  </a:moveTo>
                  <a:lnTo>
                    <a:pt x="5" y="13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5" y="54"/>
                  </a:lnTo>
                  <a:lnTo>
                    <a:pt x="5" y="58"/>
                  </a:lnTo>
                  <a:lnTo>
                    <a:pt x="9" y="63"/>
                  </a:lnTo>
                  <a:lnTo>
                    <a:pt x="14" y="63"/>
                  </a:lnTo>
                  <a:lnTo>
                    <a:pt x="14" y="54"/>
                  </a:lnTo>
                  <a:lnTo>
                    <a:pt x="27" y="40"/>
                  </a:lnTo>
                  <a:lnTo>
                    <a:pt x="18" y="36"/>
                  </a:lnTo>
                  <a:lnTo>
                    <a:pt x="18" y="13"/>
                  </a:lnTo>
                  <a:lnTo>
                    <a:pt x="14" y="13"/>
                  </a:lnTo>
                  <a:lnTo>
                    <a:pt x="14" y="5"/>
                  </a:lnTo>
                  <a:lnTo>
                    <a:pt x="5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0" name="Freeform 202"/>
            <p:cNvSpPr>
              <a:spLocks/>
            </p:cNvSpPr>
            <p:nvPr/>
          </p:nvSpPr>
          <p:spPr bwMode="gray">
            <a:xfrm>
              <a:off x="2866" y="1957"/>
              <a:ext cx="107" cy="58"/>
            </a:xfrm>
            <a:custGeom>
              <a:avLst/>
              <a:gdLst>
                <a:gd name="T0" fmla="*/ 0 w 107"/>
                <a:gd name="T1" fmla="*/ 31 h 58"/>
                <a:gd name="T2" fmla="*/ 0 w 107"/>
                <a:gd name="T3" fmla="*/ 45 h 58"/>
                <a:gd name="T4" fmla="*/ 0 w 107"/>
                <a:gd name="T5" fmla="*/ 49 h 58"/>
                <a:gd name="T6" fmla="*/ 9 w 107"/>
                <a:gd name="T7" fmla="*/ 45 h 58"/>
                <a:gd name="T8" fmla="*/ 9 w 107"/>
                <a:gd name="T9" fmla="*/ 49 h 58"/>
                <a:gd name="T10" fmla="*/ 18 w 107"/>
                <a:gd name="T11" fmla="*/ 49 h 58"/>
                <a:gd name="T12" fmla="*/ 22 w 107"/>
                <a:gd name="T13" fmla="*/ 45 h 58"/>
                <a:gd name="T14" fmla="*/ 36 w 107"/>
                <a:gd name="T15" fmla="*/ 45 h 58"/>
                <a:gd name="T16" fmla="*/ 40 w 107"/>
                <a:gd name="T17" fmla="*/ 54 h 58"/>
                <a:gd name="T18" fmla="*/ 54 w 107"/>
                <a:gd name="T19" fmla="*/ 58 h 58"/>
                <a:gd name="T20" fmla="*/ 67 w 107"/>
                <a:gd name="T21" fmla="*/ 58 h 58"/>
                <a:gd name="T22" fmla="*/ 76 w 107"/>
                <a:gd name="T23" fmla="*/ 54 h 58"/>
                <a:gd name="T24" fmla="*/ 89 w 107"/>
                <a:gd name="T25" fmla="*/ 49 h 58"/>
                <a:gd name="T26" fmla="*/ 94 w 107"/>
                <a:gd name="T27" fmla="*/ 45 h 58"/>
                <a:gd name="T28" fmla="*/ 94 w 107"/>
                <a:gd name="T29" fmla="*/ 40 h 58"/>
                <a:gd name="T30" fmla="*/ 94 w 107"/>
                <a:gd name="T31" fmla="*/ 36 h 58"/>
                <a:gd name="T32" fmla="*/ 94 w 107"/>
                <a:gd name="T33" fmla="*/ 31 h 58"/>
                <a:gd name="T34" fmla="*/ 103 w 107"/>
                <a:gd name="T35" fmla="*/ 31 h 58"/>
                <a:gd name="T36" fmla="*/ 107 w 107"/>
                <a:gd name="T37" fmla="*/ 22 h 58"/>
                <a:gd name="T38" fmla="*/ 107 w 107"/>
                <a:gd name="T39" fmla="*/ 18 h 58"/>
                <a:gd name="T40" fmla="*/ 107 w 107"/>
                <a:gd name="T41" fmla="*/ 13 h 58"/>
                <a:gd name="T42" fmla="*/ 103 w 107"/>
                <a:gd name="T43" fmla="*/ 13 h 58"/>
                <a:gd name="T44" fmla="*/ 98 w 107"/>
                <a:gd name="T45" fmla="*/ 13 h 58"/>
                <a:gd name="T46" fmla="*/ 98 w 107"/>
                <a:gd name="T47" fmla="*/ 4 h 58"/>
                <a:gd name="T48" fmla="*/ 76 w 107"/>
                <a:gd name="T49" fmla="*/ 0 h 58"/>
                <a:gd name="T50" fmla="*/ 67 w 107"/>
                <a:gd name="T51" fmla="*/ 9 h 58"/>
                <a:gd name="T52" fmla="*/ 58 w 107"/>
                <a:gd name="T53" fmla="*/ 9 h 58"/>
                <a:gd name="T54" fmla="*/ 54 w 107"/>
                <a:gd name="T55" fmla="*/ 13 h 58"/>
                <a:gd name="T56" fmla="*/ 45 w 107"/>
                <a:gd name="T57" fmla="*/ 18 h 58"/>
                <a:gd name="T58" fmla="*/ 40 w 107"/>
                <a:gd name="T59" fmla="*/ 22 h 58"/>
                <a:gd name="T60" fmla="*/ 49 w 107"/>
                <a:gd name="T61" fmla="*/ 27 h 58"/>
                <a:gd name="T62" fmla="*/ 45 w 107"/>
                <a:gd name="T63" fmla="*/ 36 h 58"/>
                <a:gd name="T64" fmla="*/ 40 w 107"/>
                <a:gd name="T65" fmla="*/ 31 h 58"/>
                <a:gd name="T66" fmla="*/ 22 w 107"/>
                <a:gd name="T67" fmla="*/ 36 h 58"/>
                <a:gd name="T68" fmla="*/ 0 w 107"/>
                <a:gd name="T69" fmla="*/ 31 h 5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7"/>
                <a:gd name="T106" fmla="*/ 0 h 58"/>
                <a:gd name="T107" fmla="*/ 107 w 107"/>
                <a:gd name="T108" fmla="*/ 58 h 5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7" h="58">
                  <a:moveTo>
                    <a:pt x="0" y="31"/>
                  </a:moveTo>
                  <a:lnTo>
                    <a:pt x="0" y="45"/>
                  </a:lnTo>
                  <a:lnTo>
                    <a:pt x="0" y="49"/>
                  </a:lnTo>
                  <a:lnTo>
                    <a:pt x="9" y="45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22" y="45"/>
                  </a:lnTo>
                  <a:lnTo>
                    <a:pt x="36" y="45"/>
                  </a:lnTo>
                  <a:lnTo>
                    <a:pt x="40" y="54"/>
                  </a:lnTo>
                  <a:lnTo>
                    <a:pt x="54" y="58"/>
                  </a:lnTo>
                  <a:lnTo>
                    <a:pt x="67" y="58"/>
                  </a:lnTo>
                  <a:lnTo>
                    <a:pt x="76" y="54"/>
                  </a:lnTo>
                  <a:lnTo>
                    <a:pt x="89" y="49"/>
                  </a:lnTo>
                  <a:lnTo>
                    <a:pt x="94" y="45"/>
                  </a:lnTo>
                  <a:lnTo>
                    <a:pt x="94" y="40"/>
                  </a:lnTo>
                  <a:lnTo>
                    <a:pt x="94" y="36"/>
                  </a:lnTo>
                  <a:lnTo>
                    <a:pt x="94" y="31"/>
                  </a:lnTo>
                  <a:lnTo>
                    <a:pt x="103" y="31"/>
                  </a:lnTo>
                  <a:lnTo>
                    <a:pt x="107" y="22"/>
                  </a:lnTo>
                  <a:lnTo>
                    <a:pt x="107" y="18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3"/>
                  </a:lnTo>
                  <a:lnTo>
                    <a:pt x="98" y="4"/>
                  </a:lnTo>
                  <a:lnTo>
                    <a:pt x="76" y="0"/>
                  </a:lnTo>
                  <a:lnTo>
                    <a:pt x="67" y="9"/>
                  </a:lnTo>
                  <a:lnTo>
                    <a:pt x="58" y="9"/>
                  </a:lnTo>
                  <a:lnTo>
                    <a:pt x="54" y="13"/>
                  </a:lnTo>
                  <a:lnTo>
                    <a:pt x="45" y="18"/>
                  </a:lnTo>
                  <a:lnTo>
                    <a:pt x="40" y="22"/>
                  </a:lnTo>
                  <a:lnTo>
                    <a:pt x="49" y="27"/>
                  </a:lnTo>
                  <a:lnTo>
                    <a:pt x="45" y="36"/>
                  </a:lnTo>
                  <a:lnTo>
                    <a:pt x="40" y="31"/>
                  </a:lnTo>
                  <a:lnTo>
                    <a:pt x="22" y="36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1" name="Freeform 203"/>
            <p:cNvSpPr>
              <a:spLocks/>
            </p:cNvSpPr>
            <p:nvPr/>
          </p:nvSpPr>
          <p:spPr bwMode="gray">
            <a:xfrm>
              <a:off x="2763" y="1899"/>
              <a:ext cx="58" cy="49"/>
            </a:xfrm>
            <a:custGeom>
              <a:avLst/>
              <a:gdLst>
                <a:gd name="T0" fmla="*/ 0 w 58"/>
                <a:gd name="T1" fmla="*/ 9 h 49"/>
                <a:gd name="T2" fmla="*/ 9 w 58"/>
                <a:gd name="T3" fmla="*/ 22 h 49"/>
                <a:gd name="T4" fmla="*/ 14 w 58"/>
                <a:gd name="T5" fmla="*/ 22 h 49"/>
                <a:gd name="T6" fmla="*/ 18 w 58"/>
                <a:gd name="T7" fmla="*/ 27 h 49"/>
                <a:gd name="T8" fmla="*/ 23 w 58"/>
                <a:gd name="T9" fmla="*/ 27 h 49"/>
                <a:gd name="T10" fmla="*/ 23 w 58"/>
                <a:gd name="T11" fmla="*/ 36 h 49"/>
                <a:gd name="T12" fmla="*/ 27 w 58"/>
                <a:gd name="T13" fmla="*/ 36 h 49"/>
                <a:gd name="T14" fmla="*/ 36 w 58"/>
                <a:gd name="T15" fmla="*/ 31 h 49"/>
                <a:gd name="T16" fmla="*/ 32 w 58"/>
                <a:gd name="T17" fmla="*/ 40 h 49"/>
                <a:gd name="T18" fmla="*/ 40 w 58"/>
                <a:gd name="T19" fmla="*/ 45 h 49"/>
                <a:gd name="T20" fmla="*/ 45 w 58"/>
                <a:gd name="T21" fmla="*/ 49 h 49"/>
                <a:gd name="T22" fmla="*/ 49 w 58"/>
                <a:gd name="T23" fmla="*/ 49 h 49"/>
                <a:gd name="T24" fmla="*/ 49 w 58"/>
                <a:gd name="T25" fmla="*/ 45 h 49"/>
                <a:gd name="T26" fmla="*/ 49 w 58"/>
                <a:gd name="T27" fmla="*/ 36 h 49"/>
                <a:gd name="T28" fmla="*/ 54 w 58"/>
                <a:gd name="T29" fmla="*/ 36 h 49"/>
                <a:gd name="T30" fmla="*/ 58 w 58"/>
                <a:gd name="T31" fmla="*/ 27 h 49"/>
                <a:gd name="T32" fmla="*/ 54 w 58"/>
                <a:gd name="T33" fmla="*/ 18 h 49"/>
                <a:gd name="T34" fmla="*/ 49 w 58"/>
                <a:gd name="T35" fmla="*/ 18 h 49"/>
                <a:gd name="T36" fmla="*/ 49 w 58"/>
                <a:gd name="T37" fmla="*/ 13 h 49"/>
                <a:gd name="T38" fmla="*/ 45 w 58"/>
                <a:gd name="T39" fmla="*/ 9 h 49"/>
                <a:gd name="T40" fmla="*/ 36 w 58"/>
                <a:gd name="T41" fmla="*/ 9 h 49"/>
                <a:gd name="T42" fmla="*/ 27 w 58"/>
                <a:gd name="T43" fmla="*/ 0 h 49"/>
                <a:gd name="T44" fmla="*/ 23 w 58"/>
                <a:gd name="T45" fmla="*/ 9 h 49"/>
                <a:gd name="T46" fmla="*/ 18 w 58"/>
                <a:gd name="T47" fmla="*/ 9 h 49"/>
                <a:gd name="T48" fmla="*/ 9 w 58"/>
                <a:gd name="T49" fmla="*/ 9 h 49"/>
                <a:gd name="T50" fmla="*/ 9 w 58"/>
                <a:gd name="T51" fmla="*/ 4 h 49"/>
                <a:gd name="T52" fmla="*/ 5 w 58"/>
                <a:gd name="T53" fmla="*/ 4 h 49"/>
                <a:gd name="T54" fmla="*/ 0 w 58"/>
                <a:gd name="T55" fmla="*/ 9 h 4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58"/>
                <a:gd name="T85" fmla="*/ 0 h 49"/>
                <a:gd name="T86" fmla="*/ 58 w 58"/>
                <a:gd name="T87" fmla="*/ 49 h 4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58" h="49">
                  <a:moveTo>
                    <a:pt x="0" y="9"/>
                  </a:moveTo>
                  <a:lnTo>
                    <a:pt x="9" y="22"/>
                  </a:lnTo>
                  <a:lnTo>
                    <a:pt x="14" y="22"/>
                  </a:lnTo>
                  <a:lnTo>
                    <a:pt x="18" y="27"/>
                  </a:lnTo>
                  <a:lnTo>
                    <a:pt x="23" y="27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36" y="31"/>
                  </a:lnTo>
                  <a:lnTo>
                    <a:pt x="32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9" y="49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54" y="36"/>
                  </a:lnTo>
                  <a:lnTo>
                    <a:pt x="58" y="27"/>
                  </a:lnTo>
                  <a:lnTo>
                    <a:pt x="54" y="18"/>
                  </a:lnTo>
                  <a:lnTo>
                    <a:pt x="49" y="18"/>
                  </a:lnTo>
                  <a:lnTo>
                    <a:pt x="49" y="13"/>
                  </a:lnTo>
                  <a:lnTo>
                    <a:pt x="45" y="9"/>
                  </a:lnTo>
                  <a:lnTo>
                    <a:pt x="36" y="9"/>
                  </a:lnTo>
                  <a:lnTo>
                    <a:pt x="27" y="0"/>
                  </a:lnTo>
                  <a:lnTo>
                    <a:pt x="23" y="9"/>
                  </a:lnTo>
                  <a:lnTo>
                    <a:pt x="18" y="9"/>
                  </a:lnTo>
                  <a:lnTo>
                    <a:pt x="9" y="9"/>
                  </a:lnTo>
                  <a:lnTo>
                    <a:pt x="9" y="4"/>
                  </a:lnTo>
                  <a:lnTo>
                    <a:pt x="5" y="4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2" name="Freeform 204"/>
            <p:cNvSpPr>
              <a:spLocks/>
            </p:cNvSpPr>
            <p:nvPr/>
          </p:nvSpPr>
          <p:spPr bwMode="gray">
            <a:xfrm>
              <a:off x="2946" y="2037"/>
              <a:ext cx="58" cy="50"/>
            </a:xfrm>
            <a:custGeom>
              <a:avLst/>
              <a:gdLst>
                <a:gd name="T0" fmla="*/ 32 w 58"/>
                <a:gd name="T1" fmla="*/ 45 h 50"/>
                <a:gd name="T2" fmla="*/ 32 w 58"/>
                <a:gd name="T3" fmla="*/ 45 h 50"/>
                <a:gd name="T4" fmla="*/ 36 w 58"/>
                <a:gd name="T5" fmla="*/ 45 h 50"/>
                <a:gd name="T6" fmla="*/ 45 w 58"/>
                <a:gd name="T7" fmla="*/ 50 h 50"/>
                <a:gd name="T8" fmla="*/ 45 w 58"/>
                <a:gd name="T9" fmla="*/ 50 h 50"/>
                <a:gd name="T10" fmla="*/ 45 w 58"/>
                <a:gd name="T11" fmla="*/ 50 h 50"/>
                <a:gd name="T12" fmla="*/ 45 w 58"/>
                <a:gd name="T13" fmla="*/ 45 h 50"/>
                <a:gd name="T14" fmla="*/ 45 w 58"/>
                <a:gd name="T15" fmla="*/ 45 h 50"/>
                <a:gd name="T16" fmla="*/ 45 w 58"/>
                <a:gd name="T17" fmla="*/ 41 h 50"/>
                <a:gd name="T18" fmla="*/ 50 w 58"/>
                <a:gd name="T19" fmla="*/ 36 h 50"/>
                <a:gd name="T20" fmla="*/ 50 w 58"/>
                <a:gd name="T21" fmla="*/ 36 h 50"/>
                <a:gd name="T22" fmla="*/ 50 w 58"/>
                <a:gd name="T23" fmla="*/ 36 h 50"/>
                <a:gd name="T24" fmla="*/ 50 w 58"/>
                <a:gd name="T25" fmla="*/ 32 h 50"/>
                <a:gd name="T26" fmla="*/ 54 w 58"/>
                <a:gd name="T27" fmla="*/ 32 h 50"/>
                <a:gd name="T28" fmla="*/ 58 w 58"/>
                <a:gd name="T29" fmla="*/ 27 h 50"/>
                <a:gd name="T30" fmla="*/ 54 w 58"/>
                <a:gd name="T31" fmla="*/ 23 h 50"/>
                <a:gd name="T32" fmla="*/ 58 w 58"/>
                <a:gd name="T33" fmla="*/ 23 h 50"/>
                <a:gd name="T34" fmla="*/ 58 w 58"/>
                <a:gd name="T35" fmla="*/ 23 h 50"/>
                <a:gd name="T36" fmla="*/ 50 w 58"/>
                <a:gd name="T37" fmla="*/ 18 h 50"/>
                <a:gd name="T38" fmla="*/ 50 w 58"/>
                <a:gd name="T39" fmla="*/ 14 h 50"/>
                <a:gd name="T40" fmla="*/ 54 w 58"/>
                <a:gd name="T41" fmla="*/ 9 h 50"/>
                <a:gd name="T42" fmla="*/ 54 w 58"/>
                <a:gd name="T43" fmla="*/ 5 h 50"/>
                <a:gd name="T44" fmla="*/ 50 w 58"/>
                <a:gd name="T45" fmla="*/ 5 h 50"/>
                <a:gd name="T46" fmla="*/ 45 w 58"/>
                <a:gd name="T47" fmla="*/ 5 h 50"/>
                <a:gd name="T48" fmla="*/ 45 w 58"/>
                <a:gd name="T49" fmla="*/ 5 h 50"/>
                <a:gd name="T50" fmla="*/ 41 w 58"/>
                <a:gd name="T51" fmla="*/ 0 h 50"/>
                <a:gd name="T52" fmla="*/ 36 w 58"/>
                <a:gd name="T53" fmla="*/ 0 h 50"/>
                <a:gd name="T54" fmla="*/ 32 w 58"/>
                <a:gd name="T55" fmla="*/ 5 h 50"/>
                <a:gd name="T56" fmla="*/ 23 w 58"/>
                <a:gd name="T57" fmla="*/ 0 h 50"/>
                <a:gd name="T58" fmla="*/ 18 w 58"/>
                <a:gd name="T59" fmla="*/ 0 h 50"/>
                <a:gd name="T60" fmla="*/ 18 w 58"/>
                <a:gd name="T61" fmla="*/ 0 h 50"/>
                <a:gd name="T62" fmla="*/ 14 w 58"/>
                <a:gd name="T63" fmla="*/ 0 h 50"/>
                <a:gd name="T64" fmla="*/ 9 w 58"/>
                <a:gd name="T65" fmla="*/ 5 h 50"/>
                <a:gd name="T66" fmla="*/ 5 w 58"/>
                <a:gd name="T67" fmla="*/ 0 h 50"/>
                <a:gd name="T68" fmla="*/ 5 w 58"/>
                <a:gd name="T69" fmla="*/ 0 h 50"/>
                <a:gd name="T70" fmla="*/ 0 w 58"/>
                <a:gd name="T71" fmla="*/ 9 h 50"/>
                <a:gd name="T72" fmla="*/ 5 w 58"/>
                <a:gd name="T73" fmla="*/ 9 h 50"/>
                <a:gd name="T74" fmla="*/ 9 w 58"/>
                <a:gd name="T75" fmla="*/ 18 h 50"/>
                <a:gd name="T76" fmla="*/ 9 w 58"/>
                <a:gd name="T77" fmla="*/ 23 h 50"/>
                <a:gd name="T78" fmla="*/ 23 w 58"/>
                <a:gd name="T79" fmla="*/ 36 h 50"/>
                <a:gd name="T80" fmla="*/ 27 w 58"/>
                <a:gd name="T81" fmla="*/ 36 h 50"/>
                <a:gd name="T82" fmla="*/ 27 w 58"/>
                <a:gd name="T83" fmla="*/ 36 h 50"/>
                <a:gd name="T84" fmla="*/ 32 w 58"/>
                <a:gd name="T85" fmla="*/ 45 h 50"/>
                <a:gd name="T86" fmla="*/ 32 w 58"/>
                <a:gd name="T87" fmla="*/ 45 h 5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8"/>
                <a:gd name="T133" fmla="*/ 0 h 50"/>
                <a:gd name="T134" fmla="*/ 58 w 58"/>
                <a:gd name="T135" fmla="*/ 50 h 5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8" h="50">
                  <a:moveTo>
                    <a:pt x="32" y="45"/>
                  </a:moveTo>
                  <a:lnTo>
                    <a:pt x="32" y="45"/>
                  </a:lnTo>
                  <a:lnTo>
                    <a:pt x="36" y="45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50" y="36"/>
                  </a:lnTo>
                  <a:lnTo>
                    <a:pt x="50" y="32"/>
                  </a:lnTo>
                  <a:lnTo>
                    <a:pt x="54" y="32"/>
                  </a:lnTo>
                  <a:lnTo>
                    <a:pt x="58" y="27"/>
                  </a:lnTo>
                  <a:lnTo>
                    <a:pt x="54" y="23"/>
                  </a:lnTo>
                  <a:lnTo>
                    <a:pt x="58" y="23"/>
                  </a:lnTo>
                  <a:lnTo>
                    <a:pt x="50" y="18"/>
                  </a:lnTo>
                  <a:lnTo>
                    <a:pt x="50" y="14"/>
                  </a:lnTo>
                  <a:lnTo>
                    <a:pt x="54" y="9"/>
                  </a:lnTo>
                  <a:lnTo>
                    <a:pt x="54" y="5"/>
                  </a:lnTo>
                  <a:lnTo>
                    <a:pt x="50" y="5"/>
                  </a:lnTo>
                  <a:lnTo>
                    <a:pt x="45" y="5"/>
                  </a:lnTo>
                  <a:lnTo>
                    <a:pt x="41" y="0"/>
                  </a:lnTo>
                  <a:lnTo>
                    <a:pt x="36" y="0"/>
                  </a:lnTo>
                  <a:lnTo>
                    <a:pt x="32" y="5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0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18"/>
                  </a:lnTo>
                  <a:lnTo>
                    <a:pt x="9" y="23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32" y="4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3" name="Freeform 205"/>
            <p:cNvSpPr>
              <a:spLocks/>
            </p:cNvSpPr>
            <p:nvPr/>
          </p:nvSpPr>
          <p:spPr bwMode="gray">
            <a:xfrm>
              <a:off x="3045" y="2055"/>
              <a:ext cx="89" cy="63"/>
            </a:xfrm>
            <a:custGeom>
              <a:avLst/>
              <a:gdLst>
                <a:gd name="T0" fmla="*/ 4 w 89"/>
                <a:gd name="T1" fmla="*/ 0 h 63"/>
                <a:gd name="T2" fmla="*/ 0 w 89"/>
                <a:gd name="T3" fmla="*/ 18 h 63"/>
                <a:gd name="T4" fmla="*/ 13 w 89"/>
                <a:gd name="T5" fmla="*/ 27 h 63"/>
                <a:gd name="T6" fmla="*/ 13 w 89"/>
                <a:gd name="T7" fmla="*/ 32 h 63"/>
                <a:gd name="T8" fmla="*/ 4 w 89"/>
                <a:gd name="T9" fmla="*/ 36 h 63"/>
                <a:gd name="T10" fmla="*/ 4 w 89"/>
                <a:gd name="T11" fmla="*/ 45 h 63"/>
                <a:gd name="T12" fmla="*/ 13 w 89"/>
                <a:gd name="T13" fmla="*/ 49 h 63"/>
                <a:gd name="T14" fmla="*/ 13 w 89"/>
                <a:gd name="T15" fmla="*/ 63 h 63"/>
                <a:gd name="T16" fmla="*/ 22 w 89"/>
                <a:gd name="T17" fmla="*/ 63 h 63"/>
                <a:gd name="T18" fmla="*/ 31 w 89"/>
                <a:gd name="T19" fmla="*/ 58 h 63"/>
                <a:gd name="T20" fmla="*/ 40 w 89"/>
                <a:gd name="T21" fmla="*/ 63 h 63"/>
                <a:gd name="T22" fmla="*/ 53 w 89"/>
                <a:gd name="T23" fmla="*/ 63 h 63"/>
                <a:gd name="T24" fmla="*/ 53 w 89"/>
                <a:gd name="T25" fmla="*/ 54 h 63"/>
                <a:gd name="T26" fmla="*/ 71 w 89"/>
                <a:gd name="T27" fmla="*/ 45 h 63"/>
                <a:gd name="T28" fmla="*/ 76 w 89"/>
                <a:gd name="T29" fmla="*/ 49 h 63"/>
                <a:gd name="T30" fmla="*/ 85 w 89"/>
                <a:gd name="T31" fmla="*/ 49 h 63"/>
                <a:gd name="T32" fmla="*/ 80 w 89"/>
                <a:gd name="T33" fmla="*/ 36 h 63"/>
                <a:gd name="T34" fmla="*/ 76 w 89"/>
                <a:gd name="T35" fmla="*/ 36 h 63"/>
                <a:gd name="T36" fmla="*/ 80 w 89"/>
                <a:gd name="T37" fmla="*/ 32 h 63"/>
                <a:gd name="T38" fmla="*/ 80 w 89"/>
                <a:gd name="T39" fmla="*/ 18 h 63"/>
                <a:gd name="T40" fmla="*/ 89 w 89"/>
                <a:gd name="T41" fmla="*/ 18 h 63"/>
                <a:gd name="T42" fmla="*/ 89 w 89"/>
                <a:gd name="T43" fmla="*/ 14 h 63"/>
                <a:gd name="T44" fmla="*/ 71 w 89"/>
                <a:gd name="T45" fmla="*/ 5 h 63"/>
                <a:gd name="T46" fmla="*/ 58 w 89"/>
                <a:gd name="T47" fmla="*/ 9 h 63"/>
                <a:gd name="T48" fmla="*/ 49 w 89"/>
                <a:gd name="T49" fmla="*/ 18 h 63"/>
                <a:gd name="T50" fmla="*/ 35 w 89"/>
                <a:gd name="T51" fmla="*/ 18 h 63"/>
                <a:gd name="T52" fmla="*/ 22 w 89"/>
                <a:gd name="T53" fmla="*/ 14 h 63"/>
                <a:gd name="T54" fmla="*/ 9 w 89"/>
                <a:gd name="T55" fmla="*/ 9 h 63"/>
                <a:gd name="T56" fmla="*/ 9 w 89"/>
                <a:gd name="T57" fmla="*/ 0 h 63"/>
                <a:gd name="T58" fmla="*/ 4 w 89"/>
                <a:gd name="T59" fmla="*/ 0 h 6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9"/>
                <a:gd name="T91" fmla="*/ 0 h 63"/>
                <a:gd name="T92" fmla="*/ 89 w 89"/>
                <a:gd name="T93" fmla="*/ 63 h 6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9" h="63">
                  <a:moveTo>
                    <a:pt x="4" y="0"/>
                  </a:moveTo>
                  <a:lnTo>
                    <a:pt x="0" y="18"/>
                  </a:lnTo>
                  <a:lnTo>
                    <a:pt x="13" y="27"/>
                  </a:lnTo>
                  <a:lnTo>
                    <a:pt x="13" y="32"/>
                  </a:lnTo>
                  <a:lnTo>
                    <a:pt x="4" y="36"/>
                  </a:lnTo>
                  <a:lnTo>
                    <a:pt x="4" y="45"/>
                  </a:lnTo>
                  <a:lnTo>
                    <a:pt x="13" y="49"/>
                  </a:lnTo>
                  <a:lnTo>
                    <a:pt x="13" y="63"/>
                  </a:lnTo>
                  <a:lnTo>
                    <a:pt x="22" y="63"/>
                  </a:lnTo>
                  <a:lnTo>
                    <a:pt x="31" y="58"/>
                  </a:lnTo>
                  <a:lnTo>
                    <a:pt x="40" y="63"/>
                  </a:lnTo>
                  <a:lnTo>
                    <a:pt x="53" y="63"/>
                  </a:lnTo>
                  <a:lnTo>
                    <a:pt x="53" y="54"/>
                  </a:lnTo>
                  <a:lnTo>
                    <a:pt x="71" y="45"/>
                  </a:lnTo>
                  <a:lnTo>
                    <a:pt x="76" y="49"/>
                  </a:lnTo>
                  <a:lnTo>
                    <a:pt x="85" y="49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80" y="18"/>
                  </a:lnTo>
                  <a:lnTo>
                    <a:pt x="89" y="18"/>
                  </a:lnTo>
                  <a:lnTo>
                    <a:pt x="89" y="14"/>
                  </a:lnTo>
                  <a:lnTo>
                    <a:pt x="71" y="5"/>
                  </a:lnTo>
                  <a:lnTo>
                    <a:pt x="58" y="9"/>
                  </a:lnTo>
                  <a:lnTo>
                    <a:pt x="49" y="18"/>
                  </a:lnTo>
                  <a:lnTo>
                    <a:pt x="35" y="18"/>
                  </a:lnTo>
                  <a:lnTo>
                    <a:pt x="22" y="14"/>
                  </a:lnTo>
                  <a:lnTo>
                    <a:pt x="9" y="9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4" name="Freeform 206"/>
            <p:cNvSpPr>
              <a:spLocks/>
            </p:cNvSpPr>
            <p:nvPr/>
          </p:nvSpPr>
          <p:spPr bwMode="gray">
            <a:xfrm>
              <a:off x="3058" y="1787"/>
              <a:ext cx="134" cy="121"/>
            </a:xfrm>
            <a:custGeom>
              <a:avLst/>
              <a:gdLst>
                <a:gd name="T0" fmla="*/ 13 w 134"/>
                <a:gd name="T1" fmla="*/ 116 h 121"/>
                <a:gd name="T2" fmla="*/ 22 w 134"/>
                <a:gd name="T3" fmla="*/ 103 h 121"/>
                <a:gd name="T4" fmla="*/ 45 w 134"/>
                <a:gd name="T5" fmla="*/ 112 h 121"/>
                <a:gd name="T6" fmla="*/ 63 w 134"/>
                <a:gd name="T7" fmla="*/ 112 h 121"/>
                <a:gd name="T8" fmla="*/ 67 w 134"/>
                <a:gd name="T9" fmla="*/ 116 h 121"/>
                <a:gd name="T10" fmla="*/ 76 w 134"/>
                <a:gd name="T11" fmla="*/ 112 h 121"/>
                <a:gd name="T12" fmla="*/ 85 w 134"/>
                <a:gd name="T13" fmla="*/ 112 h 121"/>
                <a:gd name="T14" fmla="*/ 98 w 134"/>
                <a:gd name="T15" fmla="*/ 116 h 121"/>
                <a:gd name="T16" fmla="*/ 107 w 134"/>
                <a:gd name="T17" fmla="*/ 116 h 121"/>
                <a:gd name="T18" fmla="*/ 112 w 134"/>
                <a:gd name="T19" fmla="*/ 99 h 121"/>
                <a:gd name="T20" fmla="*/ 121 w 134"/>
                <a:gd name="T21" fmla="*/ 94 h 121"/>
                <a:gd name="T22" fmla="*/ 121 w 134"/>
                <a:gd name="T23" fmla="*/ 76 h 121"/>
                <a:gd name="T24" fmla="*/ 125 w 134"/>
                <a:gd name="T25" fmla="*/ 81 h 121"/>
                <a:gd name="T26" fmla="*/ 134 w 134"/>
                <a:gd name="T27" fmla="*/ 72 h 121"/>
                <a:gd name="T28" fmla="*/ 125 w 134"/>
                <a:gd name="T29" fmla="*/ 63 h 121"/>
                <a:gd name="T30" fmla="*/ 116 w 134"/>
                <a:gd name="T31" fmla="*/ 54 h 121"/>
                <a:gd name="T32" fmla="*/ 112 w 134"/>
                <a:gd name="T33" fmla="*/ 45 h 121"/>
                <a:gd name="T34" fmla="*/ 112 w 134"/>
                <a:gd name="T35" fmla="*/ 31 h 121"/>
                <a:gd name="T36" fmla="*/ 98 w 134"/>
                <a:gd name="T37" fmla="*/ 9 h 121"/>
                <a:gd name="T38" fmla="*/ 85 w 134"/>
                <a:gd name="T39" fmla="*/ 5 h 121"/>
                <a:gd name="T40" fmla="*/ 76 w 134"/>
                <a:gd name="T41" fmla="*/ 0 h 121"/>
                <a:gd name="T42" fmla="*/ 67 w 134"/>
                <a:gd name="T43" fmla="*/ 0 h 121"/>
                <a:gd name="T44" fmla="*/ 63 w 134"/>
                <a:gd name="T45" fmla="*/ 9 h 121"/>
                <a:gd name="T46" fmla="*/ 45 w 134"/>
                <a:gd name="T47" fmla="*/ 18 h 121"/>
                <a:gd name="T48" fmla="*/ 45 w 134"/>
                <a:gd name="T49" fmla="*/ 23 h 121"/>
                <a:gd name="T50" fmla="*/ 45 w 134"/>
                <a:gd name="T51" fmla="*/ 27 h 121"/>
                <a:gd name="T52" fmla="*/ 40 w 134"/>
                <a:gd name="T53" fmla="*/ 31 h 121"/>
                <a:gd name="T54" fmla="*/ 31 w 134"/>
                <a:gd name="T55" fmla="*/ 45 h 121"/>
                <a:gd name="T56" fmla="*/ 27 w 134"/>
                <a:gd name="T57" fmla="*/ 49 h 121"/>
                <a:gd name="T58" fmla="*/ 13 w 134"/>
                <a:gd name="T59" fmla="*/ 49 h 121"/>
                <a:gd name="T60" fmla="*/ 9 w 134"/>
                <a:gd name="T61" fmla="*/ 72 h 121"/>
                <a:gd name="T62" fmla="*/ 13 w 134"/>
                <a:gd name="T63" fmla="*/ 90 h 121"/>
                <a:gd name="T64" fmla="*/ 5 w 134"/>
                <a:gd name="T65" fmla="*/ 103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4"/>
                <a:gd name="T100" fmla="*/ 0 h 121"/>
                <a:gd name="T101" fmla="*/ 134 w 134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4" h="121">
                  <a:moveTo>
                    <a:pt x="5" y="112"/>
                  </a:moveTo>
                  <a:lnTo>
                    <a:pt x="13" y="116"/>
                  </a:lnTo>
                  <a:lnTo>
                    <a:pt x="18" y="107"/>
                  </a:lnTo>
                  <a:lnTo>
                    <a:pt x="22" y="103"/>
                  </a:lnTo>
                  <a:lnTo>
                    <a:pt x="36" y="107"/>
                  </a:lnTo>
                  <a:lnTo>
                    <a:pt x="45" y="112"/>
                  </a:lnTo>
                  <a:lnTo>
                    <a:pt x="58" y="107"/>
                  </a:lnTo>
                  <a:lnTo>
                    <a:pt x="63" y="112"/>
                  </a:lnTo>
                  <a:lnTo>
                    <a:pt x="67" y="121"/>
                  </a:lnTo>
                  <a:lnTo>
                    <a:pt x="67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5" y="112"/>
                  </a:lnTo>
                  <a:lnTo>
                    <a:pt x="89" y="121"/>
                  </a:lnTo>
                  <a:lnTo>
                    <a:pt x="98" y="116"/>
                  </a:lnTo>
                  <a:lnTo>
                    <a:pt x="107" y="121"/>
                  </a:lnTo>
                  <a:lnTo>
                    <a:pt x="107" y="116"/>
                  </a:lnTo>
                  <a:lnTo>
                    <a:pt x="107" y="112"/>
                  </a:lnTo>
                  <a:lnTo>
                    <a:pt x="112" y="99"/>
                  </a:lnTo>
                  <a:lnTo>
                    <a:pt x="121" y="103"/>
                  </a:lnTo>
                  <a:lnTo>
                    <a:pt x="121" y="94"/>
                  </a:lnTo>
                  <a:lnTo>
                    <a:pt x="116" y="81"/>
                  </a:lnTo>
                  <a:lnTo>
                    <a:pt x="121" y="76"/>
                  </a:lnTo>
                  <a:lnTo>
                    <a:pt x="125" y="81"/>
                  </a:lnTo>
                  <a:lnTo>
                    <a:pt x="130" y="76"/>
                  </a:lnTo>
                  <a:lnTo>
                    <a:pt x="134" y="72"/>
                  </a:lnTo>
                  <a:lnTo>
                    <a:pt x="130" y="72"/>
                  </a:lnTo>
                  <a:lnTo>
                    <a:pt x="125" y="63"/>
                  </a:lnTo>
                  <a:lnTo>
                    <a:pt x="116" y="67"/>
                  </a:lnTo>
                  <a:lnTo>
                    <a:pt x="116" y="54"/>
                  </a:lnTo>
                  <a:lnTo>
                    <a:pt x="112" y="49"/>
                  </a:lnTo>
                  <a:lnTo>
                    <a:pt x="112" y="45"/>
                  </a:lnTo>
                  <a:lnTo>
                    <a:pt x="112" y="36"/>
                  </a:lnTo>
                  <a:lnTo>
                    <a:pt x="112" y="31"/>
                  </a:lnTo>
                  <a:lnTo>
                    <a:pt x="107" y="18"/>
                  </a:lnTo>
                  <a:lnTo>
                    <a:pt x="98" y="9"/>
                  </a:lnTo>
                  <a:lnTo>
                    <a:pt x="89" y="14"/>
                  </a:lnTo>
                  <a:lnTo>
                    <a:pt x="85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3" y="9"/>
                  </a:lnTo>
                  <a:lnTo>
                    <a:pt x="58" y="14"/>
                  </a:lnTo>
                  <a:lnTo>
                    <a:pt x="45" y="18"/>
                  </a:lnTo>
                  <a:lnTo>
                    <a:pt x="45" y="23"/>
                  </a:lnTo>
                  <a:lnTo>
                    <a:pt x="49" y="27"/>
                  </a:lnTo>
                  <a:lnTo>
                    <a:pt x="45" y="27"/>
                  </a:lnTo>
                  <a:lnTo>
                    <a:pt x="40" y="31"/>
                  </a:lnTo>
                  <a:lnTo>
                    <a:pt x="36" y="40"/>
                  </a:lnTo>
                  <a:lnTo>
                    <a:pt x="31" y="45"/>
                  </a:lnTo>
                  <a:lnTo>
                    <a:pt x="31" y="54"/>
                  </a:lnTo>
                  <a:lnTo>
                    <a:pt x="27" y="49"/>
                  </a:lnTo>
                  <a:lnTo>
                    <a:pt x="22" y="54"/>
                  </a:lnTo>
                  <a:lnTo>
                    <a:pt x="13" y="49"/>
                  </a:lnTo>
                  <a:lnTo>
                    <a:pt x="5" y="58"/>
                  </a:lnTo>
                  <a:lnTo>
                    <a:pt x="9" y="72"/>
                  </a:lnTo>
                  <a:lnTo>
                    <a:pt x="13" y="81"/>
                  </a:lnTo>
                  <a:lnTo>
                    <a:pt x="13" y="90"/>
                  </a:lnTo>
                  <a:lnTo>
                    <a:pt x="0" y="94"/>
                  </a:lnTo>
                  <a:lnTo>
                    <a:pt x="5" y="103"/>
                  </a:lnTo>
                  <a:lnTo>
                    <a:pt x="5" y="11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5" name="Freeform 207"/>
            <p:cNvSpPr>
              <a:spLocks noEditPoints="1"/>
            </p:cNvSpPr>
            <p:nvPr/>
          </p:nvSpPr>
          <p:spPr bwMode="gray">
            <a:xfrm>
              <a:off x="2915" y="2011"/>
              <a:ext cx="85" cy="80"/>
            </a:xfrm>
            <a:custGeom>
              <a:avLst/>
              <a:gdLst>
                <a:gd name="T0" fmla="*/ 0 w 85"/>
                <a:gd name="T1" fmla="*/ 22 h 80"/>
                <a:gd name="T2" fmla="*/ 9 w 85"/>
                <a:gd name="T3" fmla="*/ 35 h 80"/>
                <a:gd name="T4" fmla="*/ 22 w 85"/>
                <a:gd name="T5" fmla="*/ 31 h 80"/>
                <a:gd name="T6" fmla="*/ 27 w 85"/>
                <a:gd name="T7" fmla="*/ 44 h 80"/>
                <a:gd name="T8" fmla="*/ 22 w 85"/>
                <a:gd name="T9" fmla="*/ 53 h 80"/>
                <a:gd name="T10" fmla="*/ 36 w 85"/>
                <a:gd name="T11" fmla="*/ 62 h 80"/>
                <a:gd name="T12" fmla="*/ 45 w 85"/>
                <a:gd name="T13" fmla="*/ 67 h 80"/>
                <a:gd name="T14" fmla="*/ 45 w 85"/>
                <a:gd name="T15" fmla="*/ 62 h 80"/>
                <a:gd name="T16" fmla="*/ 54 w 85"/>
                <a:gd name="T17" fmla="*/ 67 h 80"/>
                <a:gd name="T18" fmla="*/ 63 w 85"/>
                <a:gd name="T19" fmla="*/ 71 h 80"/>
                <a:gd name="T20" fmla="*/ 58 w 85"/>
                <a:gd name="T21" fmla="*/ 62 h 80"/>
                <a:gd name="T22" fmla="*/ 54 w 85"/>
                <a:gd name="T23" fmla="*/ 62 h 80"/>
                <a:gd name="T24" fmla="*/ 40 w 85"/>
                <a:gd name="T25" fmla="*/ 44 h 80"/>
                <a:gd name="T26" fmla="*/ 31 w 85"/>
                <a:gd name="T27" fmla="*/ 35 h 80"/>
                <a:gd name="T28" fmla="*/ 36 w 85"/>
                <a:gd name="T29" fmla="*/ 26 h 80"/>
                <a:gd name="T30" fmla="*/ 45 w 85"/>
                <a:gd name="T31" fmla="*/ 26 h 80"/>
                <a:gd name="T32" fmla="*/ 49 w 85"/>
                <a:gd name="T33" fmla="*/ 26 h 80"/>
                <a:gd name="T34" fmla="*/ 63 w 85"/>
                <a:gd name="T35" fmla="*/ 31 h 80"/>
                <a:gd name="T36" fmla="*/ 72 w 85"/>
                <a:gd name="T37" fmla="*/ 26 h 80"/>
                <a:gd name="T38" fmla="*/ 76 w 85"/>
                <a:gd name="T39" fmla="*/ 31 h 80"/>
                <a:gd name="T40" fmla="*/ 81 w 85"/>
                <a:gd name="T41" fmla="*/ 26 h 80"/>
                <a:gd name="T42" fmla="*/ 85 w 85"/>
                <a:gd name="T43" fmla="*/ 22 h 80"/>
                <a:gd name="T44" fmla="*/ 81 w 85"/>
                <a:gd name="T45" fmla="*/ 22 h 80"/>
                <a:gd name="T46" fmla="*/ 81 w 85"/>
                <a:gd name="T47" fmla="*/ 18 h 80"/>
                <a:gd name="T48" fmla="*/ 76 w 85"/>
                <a:gd name="T49" fmla="*/ 13 h 80"/>
                <a:gd name="T50" fmla="*/ 49 w 85"/>
                <a:gd name="T51" fmla="*/ 13 h 80"/>
                <a:gd name="T52" fmla="*/ 45 w 85"/>
                <a:gd name="T53" fmla="*/ 4 h 80"/>
                <a:gd name="T54" fmla="*/ 40 w 85"/>
                <a:gd name="T55" fmla="*/ 0 h 80"/>
                <a:gd name="T56" fmla="*/ 40 w 85"/>
                <a:gd name="T57" fmla="*/ 4 h 80"/>
                <a:gd name="T58" fmla="*/ 36 w 85"/>
                <a:gd name="T59" fmla="*/ 9 h 80"/>
                <a:gd name="T60" fmla="*/ 31 w 85"/>
                <a:gd name="T61" fmla="*/ 9 h 80"/>
                <a:gd name="T62" fmla="*/ 31 w 85"/>
                <a:gd name="T63" fmla="*/ 13 h 80"/>
                <a:gd name="T64" fmla="*/ 27 w 85"/>
                <a:gd name="T65" fmla="*/ 22 h 80"/>
                <a:gd name="T66" fmla="*/ 22 w 85"/>
                <a:gd name="T67" fmla="*/ 22 h 80"/>
                <a:gd name="T68" fmla="*/ 14 w 85"/>
                <a:gd name="T69" fmla="*/ 22 h 80"/>
                <a:gd name="T70" fmla="*/ 5 w 85"/>
                <a:gd name="T71" fmla="*/ 22 h 80"/>
                <a:gd name="T72" fmla="*/ 63 w 85"/>
                <a:gd name="T73" fmla="*/ 71 h 80"/>
                <a:gd name="T74" fmla="*/ 72 w 85"/>
                <a:gd name="T75" fmla="*/ 80 h 80"/>
                <a:gd name="T76" fmla="*/ 76 w 85"/>
                <a:gd name="T77" fmla="*/ 76 h 80"/>
                <a:gd name="T78" fmla="*/ 63 w 85"/>
                <a:gd name="T79" fmla="*/ 71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"/>
                <a:gd name="T121" fmla="*/ 0 h 80"/>
                <a:gd name="T122" fmla="*/ 85 w 85"/>
                <a:gd name="T123" fmla="*/ 80 h 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" h="80">
                  <a:moveTo>
                    <a:pt x="5" y="22"/>
                  </a:moveTo>
                  <a:lnTo>
                    <a:pt x="0" y="22"/>
                  </a:lnTo>
                  <a:lnTo>
                    <a:pt x="5" y="35"/>
                  </a:lnTo>
                  <a:lnTo>
                    <a:pt x="9" y="35"/>
                  </a:lnTo>
                  <a:lnTo>
                    <a:pt x="14" y="26"/>
                  </a:lnTo>
                  <a:lnTo>
                    <a:pt x="22" y="31"/>
                  </a:lnTo>
                  <a:lnTo>
                    <a:pt x="18" y="35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2" y="53"/>
                  </a:lnTo>
                  <a:lnTo>
                    <a:pt x="31" y="49"/>
                  </a:lnTo>
                  <a:lnTo>
                    <a:pt x="36" y="62"/>
                  </a:lnTo>
                  <a:lnTo>
                    <a:pt x="45" y="62"/>
                  </a:lnTo>
                  <a:lnTo>
                    <a:pt x="45" y="67"/>
                  </a:lnTo>
                  <a:lnTo>
                    <a:pt x="54" y="67"/>
                  </a:lnTo>
                  <a:lnTo>
                    <a:pt x="45" y="62"/>
                  </a:lnTo>
                  <a:lnTo>
                    <a:pt x="49" y="62"/>
                  </a:lnTo>
                  <a:lnTo>
                    <a:pt x="54" y="67"/>
                  </a:lnTo>
                  <a:lnTo>
                    <a:pt x="54" y="71"/>
                  </a:lnTo>
                  <a:lnTo>
                    <a:pt x="63" y="71"/>
                  </a:lnTo>
                  <a:lnTo>
                    <a:pt x="58" y="62"/>
                  </a:lnTo>
                  <a:lnTo>
                    <a:pt x="54" y="62"/>
                  </a:lnTo>
                  <a:lnTo>
                    <a:pt x="40" y="49"/>
                  </a:lnTo>
                  <a:lnTo>
                    <a:pt x="40" y="44"/>
                  </a:lnTo>
                  <a:lnTo>
                    <a:pt x="36" y="35"/>
                  </a:lnTo>
                  <a:lnTo>
                    <a:pt x="31" y="35"/>
                  </a:lnTo>
                  <a:lnTo>
                    <a:pt x="36" y="26"/>
                  </a:lnTo>
                  <a:lnTo>
                    <a:pt x="40" y="31"/>
                  </a:lnTo>
                  <a:lnTo>
                    <a:pt x="45" y="26"/>
                  </a:lnTo>
                  <a:lnTo>
                    <a:pt x="49" y="26"/>
                  </a:lnTo>
                  <a:lnTo>
                    <a:pt x="54" y="26"/>
                  </a:lnTo>
                  <a:lnTo>
                    <a:pt x="63" y="31"/>
                  </a:lnTo>
                  <a:lnTo>
                    <a:pt x="67" y="26"/>
                  </a:lnTo>
                  <a:lnTo>
                    <a:pt x="72" y="26"/>
                  </a:lnTo>
                  <a:lnTo>
                    <a:pt x="76" y="31"/>
                  </a:lnTo>
                  <a:lnTo>
                    <a:pt x="81" y="31"/>
                  </a:lnTo>
                  <a:lnTo>
                    <a:pt x="81" y="26"/>
                  </a:lnTo>
                  <a:lnTo>
                    <a:pt x="85" y="26"/>
                  </a:lnTo>
                  <a:lnTo>
                    <a:pt x="85" y="22"/>
                  </a:lnTo>
                  <a:lnTo>
                    <a:pt x="81" y="22"/>
                  </a:lnTo>
                  <a:lnTo>
                    <a:pt x="81" y="18"/>
                  </a:lnTo>
                  <a:lnTo>
                    <a:pt x="81" y="13"/>
                  </a:lnTo>
                  <a:lnTo>
                    <a:pt x="76" y="13"/>
                  </a:lnTo>
                  <a:lnTo>
                    <a:pt x="67" y="18"/>
                  </a:lnTo>
                  <a:lnTo>
                    <a:pt x="49" y="13"/>
                  </a:lnTo>
                  <a:lnTo>
                    <a:pt x="45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9"/>
                  </a:lnTo>
                  <a:lnTo>
                    <a:pt x="31" y="9"/>
                  </a:lnTo>
                  <a:lnTo>
                    <a:pt x="31" y="13"/>
                  </a:lnTo>
                  <a:lnTo>
                    <a:pt x="27" y="18"/>
                  </a:lnTo>
                  <a:lnTo>
                    <a:pt x="27" y="22"/>
                  </a:lnTo>
                  <a:lnTo>
                    <a:pt x="22" y="22"/>
                  </a:lnTo>
                  <a:lnTo>
                    <a:pt x="18" y="18"/>
                  </a:lnTo>
                  <a:lnTo>
                    <a:pt x="14" y="22"/>
                  </a:lnTo>
                  <a:lnTo>
                    <a:pt x="5" y="22"/>
                  </a:lnTo>
                  <a:close/>
                  <a:moveTo>
                    <a:pt x="63" y="71"/>
                  </a:moveTo>
                  <a:lnTo>
                    <a:pt x="72" y="80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67" y="71"/>
                  </a:lnTo>
                  <a:lnTo>
                    <a:pt x="63" y="7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6" name="Freeform 208"/>
            <p:cNvSpPr>
              <a:spLocks/>
            </p:cNvSpPr>
            <p:nvPr/>
          </p:nvSpPr>
          <p:spPr bwMode="gray">
            <a:xfrm>
              <a:off x="3188" y="2221"/>
              <a:ext cx="35" cy="18"/>
            </a:xfrm>
            <a:custGeom>
              <a:avLst/>
              <a:gdLst>
                <a:gd name="T0" fmla="*/ 9 w 35"/>
                <a:gd name="T1" fmla="*/ 9 h 18"/>
                <a:gd name="T2" fmla="*/ 9 w 35"/>
                <a:gd name="T3" fmla="*/ 9 h 18"/>
                <a:gd name="T4" fmla="*/ 0 w 35"/>
                <a:gd name="T5" fmla="*/ 13 h 18"/>
                <a:gd name="T6" fmla="*/ 4 w 35"/>
                <a:gd name="T7" fmla="*/ 18 h 18"/>
                <a:gd name="T8" fmla="*/ 13 w 35"/>
                <a:gd name="T9" fmla="*/ 18 h 18"/>
                <a:gd name="T10" fmla="*/ 22 w 35"/>
                <a:gd name="T11" fmla="*/ 13 h 18"/>
                <a:gd name="T12" fmla="*/ 22 w 35"/>
                <a:gd name="T13" fmla="*/ 9 h 18"/>
                <a:gd name="T14" fmla="*/ 35 w 35"/>
                <a:gd name="T15" fmla="*/ 0 h 18"/>
                <a:gd name="T16" fmla="*/ 31 w 35"/>
                <a:gd name="T17" fmla="*/ 0 h 18"/>
                <a:gd name="T18" fmla="*/ 26 w 35"/>
                <a:gd name="T19" fmla="*/ 0 h 18"/>
                <a:gd name="T20" fmla="*/ 17 w 35"/>
                <a:gd name="T21" fmla="*/ 9 h 18"/>
                <a:gd name="T22" fmla="*/ 9 w 35"/>
                <a:gd name="T23" fmla="*/ 9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5"/>
                <a:gd name="T37" fmla="*/ 0 h 18"/>
                <a:gd name="T38" fmla="*/ 35 w 35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5" h="18">
                  <a:moveTo>
                    <a:pt x="9" y="9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13" y="18"/>
                  </a:lnTo>
                  <a:lnTo>
                    <a:pt x="22" y="13"/>
                  </a:lnTo>
                  <a:lnTo>
                    <a:pt x="22" y="9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17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7" name="Freeform 209"/>
            <p:cNvSpPr>
              <a:spLocks/>
            </p:cNvSpPr>
            <p:nvPr/>
          </p:nvSpPr>
          <p:spPr bwMode="gray">
            <a:xfrm>
              <a:off x="2897" y="1917"/>
              <a:ext cx="94" cy="53"/>
            </a:xfrm>
            <a:custGeom>
              <a:avLst/>
              <a:gdLst>
                <a:gd name="T0" fmla="*/ 40 w 94"/>
                <a:gd name="T1" fmla="*/ 0 h 53"/>
                <a:gd name="T2" fmla="*/ 36 w 94"/>
                <a:gd name="T3" fmla="*/ 0 h 53"/>
                <a:gd name="T4" fmla="*/ 32 w 94"/>
                <a:gd name="T5" fmla="*/ 9 h 53"/>
                <a:gd name="T6" fmla="*/ 18 w 94"/>
                <a:gd name="T7" fmla="*/ 9 h 53"/>
                <a:gd name="T8" fmla="*/ 9 w 94"/>
                <a:gd name="T9" fmla="*/ 18 h 53"/>
                <a:gd name="T10" fmla="*/ 5 w 94"/>
                <a:gd name="T11" fmla="*/ 18 h 53"/>
                <a:gd name="T12" fmla="*/ 0 w 94"/>
                <a:gd name="T13" fmla="*/ 18 h 53"/>
                <a:gd name="T14" fmla="*/ 5 w 94"/>
                <a:gd name="T15" fmla="*/ 27 h 53"/>
                <a:gd name="T16" fmla="*/ 9 w 94"/>
                <a:gd name="T17" fmla="*/ 36 h 53"/>
                <a:gd name="T18" fmla="*/ 18 w 94"/>
                <a:gd name="T19" fmla="*/ 36 h 53"/>
                <a:gd name="T20" fmla="*/ 27 w 94"/>
                <a:gd name="T21" fmla="*/ 44 h 53"/>
                <a:gd name="T22" fmla="*/ 27 w 94"/>
                <a:gd name="T23" fmla="*/ 49 h 53"/>
                <a:gd name="T24" fmla="*/ 36 w 94"/>
                <a:gd name="T25" fmla="*/ 49 h 53"/>
                <a:gd name="T26" fmla="*/ 45 w 94"/>
                <a:gd name="T27" fmla="*/ 40 h 53"/>
                <a:gd name="T28" fmla="*/ 67 w 94"/>
                <a:gd name="T29" fmla="*/ 44 h 53"/>
                <a:gd name="T30" fmla="*/ 67 w 94"/>
                <a:gd name="T31" fmla="*/ 53 h 53"/>
                <a:gd name="T32" fmla="*/ 72 w 94"/>
                <a:gd name="T33" fmla="*/ 49 h 53"/>
                <a:gd name="T34" fmla="*/ 81 w 94"/>
                <a:gd name="T35" fmla="*/ 49 h 53"/>
                <a:gd name="T36" fmla="*/ 85 w 94"/>
                <a:gd name="T37" fmla="*/ 44 h 53"/>
                <a:gd name="T38" fmla="*/ 90 w 94"/>
                <a:gd name="T39" fmla="*/ 36 h 53"/>
                <a:gd name="T40" fmla="*/ 94 w 94"/>
                <a:gd name="T41" fmla="*/ 31 h 53"/>
                <a:gd name="T42" fmla="*/ 94 w 94"/>
                <a:gd name="T43" fmla="*/ 22 h 53"/>
                <a:gd name="T44" fmla="*/ 85 w 94"/>
                <a:gd name="T45" fmla="*/ 22 h 53"/>
                <a:gd name="T46" fmla="*/ 81 w 94"/>
                <a:gd name="T47" fmla="*/ 13 h 53"/>
                <a:gd name="T48" fmla="*/ 72 w 94"/>
                <a:gd name="T49" fmla="*/ 9 h 53"/>
                <a:gd name="T50" fmla="*/ 67 w 94"/>
                <a:gd name="T51" fmla="*/ 18 h 53"/>
                <a:gd name="T52" fmla="*/ 58 w 94"/>
                <a:gd name="T53" fmla="*/ 13 h 53"/>
                <a:gd name="T54" fmla="*/ 63 w 94"/>
                <a:gd name="T55" fmla="*/ 9 h 53"/>
                <a:gd name="T56" fmla="*/ 54 w 94"/>
                <a:gd name="T57" fmla="*/ 9 h 53"/>
                <a:gd name="T58" fmla="*/ 49 w 94"/>
                <a:gd name="T59" fmla="*/ 0 h 53"/>
                <a:gd name="T60" fmla="*/ 45 w 94"/>
                <a:gd name="T61" fmla="*/ 4 h 53"/>
                <a:gd name="T62" fmla="*/ 40 w 94"/>
                <a:gd name="T63" fmla="*/ 0 h 5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4"/>
                <a:gd name="T97" fmla="*/ 0 h 53"/>
                <a:gd name="T98" fmla="*/ 94 w 94"/>
                <a:gd name="T99" fmla="*/ 53 h 5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4" h="53">
                  <a:moveTo>
                    <a:pt x="40" y="0"/>
                  </a:moveTo>
                  <a:lnTo>
                    <a:pt x="36" y="0"/>
                  </a:lnTo>
                  <a:lnTo>
                    <a:pt x="3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18" y="36"/>
                  </a:lnTo>
                  <a:lnTo>
                    <a:pt x="27" y="44"/>
                  </a:lnTo>
                  <a:lnTo>
                    <a:pt x="27" y="49"/>
                  </a:lnTo>
                  <a:lnTo>
                    <a:pt x="36" y="49"/>
                  </a:lnTo>
                  <a:lnTo>
                    <a:pt x="45" y="40"/>
                  </a:lnTo>
                  <a:lnTo>
                    <a:pt x="67" y="44"/>
                  </a:lnTo>
                  <a:lnTo>
                    <a:pt x="67" y="53"/>
                  </a:lnTo>
                  <a:lnTo>
                    <a:pt x="72" y="49"/>
                  </a:lnTo>
                  <a:lnTo>
                    <a:pt x="81" y="49"/>
                  </a:lnTo>
                  <a:lnTo>
                    <a:pt x="85" y="44"/>
                  </a:lnTo>
                  <a:lnTo>
                    <a:pt x="90" y="36"/>
                  </a:lnTo>
                  <a:lnTo>
                    <a:pt x="94" y="31"/>
                  </a:lnTo>
                  <a:lnTo>
                    <a:pt x="94" y="22"/>
                  </a:lnTo>
                  <a:lnTo>
                    <a:pt x="85" y="22"/>
                  </a:lnTo>
                  <a:lnTo>
                    <a:pt x="81" y="13"/>
                  </a:lnTo>
                  <a:lnTo>
                    <a:pt x="72" y="9"/>
                  </a:lnTo>
                  <a:lnTo>
                    <a:pt x="67" y="18"/>
                  </a:lnTo>
                  <a:lnTo>
                    <a:pt x="58" y="13"/>
                  </a:lnTo>
                  <a:lnTo>
                    <a:pt x="63" y="9"/>
                  </a:lnTo>
                  <a:lnTo>
                    <a:pt x="54" y="9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8" name="Freeform 210"/>
            <p:cNvSpPr>
              <a:spLocks noEditPoints="1"/>
            </p:cNvSpPr>
            <p:nvPr/>
          </p:nvSpPr>
          <p:spPr bwMode="gray">
            <a:xfrm>
              <a:off x="2629" y="1604"/>
              <a:ext cx="313" cy="223"/>
            </a:xfrm>
            <a:custGeom>
              <a:avLst/>
              <a:gdLst>
                <a:gd name="T0" fmla="*/ 0 w 313"/>
                <a:gd name="T1" fmla="*/ 9 h 223"/>
                <a:gd name="T2" fmla="*/ 5 w 313"/>
                <a:gd name="T3" fmla="*/ 18 h 223"/>
                <a:gd name="T4" fmla="*/ 5 w 313"/>
                <a:gd name="T5" fmla="*/ 27 h 223"/>
                <a:gd name="T6" fmla="*/ 9 w 313"/>
                <a:gd name="T7" fmla="*/ 31 h 223"/>
                <a:gd name="T8" fmla="*/ 9 w 313"/>
                <a:gd name="T9" fmla="*/ 18 h 223"/>
                <a:gd name="T10" fmla="*/ 5 w 313"/>
                <a:gd name="T11" fmla="*/ 13 h 223"/>
                <a:gd name="T12" fmla="*/ 14 w 313"/>
                <a:gd name="T13" fmla="*/ 0 h 223"/>
                <a:gd name="T14" fmla="*/ 0 w 313"/>
                <a:gd name="T15" fmla="*/ 4 h 223"/>
                <a:gd name="T16" fmla="*/ 241 w 313"/>
                <a:gd name="T17" fmla="*/ 214 h 223"/>
                <a:gd name="T18" fmla="*/ 237 w 313"/>
                <a:gd name="T19" fmla="*/ 206 h 223"/>
                <a:gd name="T20" fmla="*/ 237 w 313"/>
                <a:gd name="T21" fmla="*/ 192 h 223"/>
                <a:gd name="T22" fmla="*/ 241 w 313"/>
                <a:gd name="T23" fmla="*/ 188 h 223"/>
                <a:gd name="T24" fmla="*/ 246 w 313"/>
                <a:gd name="T25" fmla="*/ 183 h 223"/>
                <a:gd name="T26" fmla="*/ 250 w 313"/>
                <a:gd name="T27" fmla="*/ 170 h 223"/>
                <a:gd name="T28" fmla="*/ 246 w 313"/>
                <a:gd name="T29" fmla="*/ 165 h 223"/>
                <a:gd name="T30" fmla="*/ 241 w 313"/>
                <a:gd name="T31" fmla="*/ 156 h 223"/>
                <a:gd name="T32" fmla="*/ 246 w 313"/>
                <a:gd name="T33" fmla="*/ 156 h 223"/>
                <a:gd name="T34" fmla="*/ 246 w 313"/>
                <a:gd name="T35" fmla="*/ 143 h 223"/>
                <a:gd name="T36" fmla="*/ 246 w 313"/>
                <a:gd name="T37" fmla="*/ 134 h 223"/>
                <a:gd name="T38" fmla="*/ 237 w 313"/>
                <a:gd name="T39" fmla="*/ 152 h 223"/>
                <a:gd name="T40" fmla="*/ 219 w 313"/>
                <a:gd name="T41" fmla="*/ 161 h 223"/>
                <a:gd name="T42" fmla="*/ 224 w 313"/>
                <a:gd name="T43" fmla="*/ 165 h 223"/>
                <a:gd name="T44" fmla="*/ 219 w 313"/>
                <a:gd name="T45" fmla="*/ 170 h 223"/>
                <a:gd name="T46" fmla="*/ 224 w 313"/>
                <a:gd name="T47" fmla="*/ 174 h 223"/>
                <a:gd name="T48" fmla="*/ 219 w 313"/>
                <a:gd name="T49" fmla="*/ 183 h 223"/>
                <a:gd name="T50" fmla="*/ 224 w 313"/>
                <a:gd name="T51" fmla="*/ 188 h 223"/>
                <a:gd name="T52" fmla="*/ 219 w 313"/>
                <a:gd name="T53" fmla="*/ 201 h 223"/>
                <a:gd name="T54" fmla="*/ 224 w 313"/>
                <a:gd name="T55" fmla="*/ 206 h 223"/>
                <a:gd name="T56" fmla="*/ 224 w 313"/>
                <a:gd name="T57" fmla="*/ 219 h 223"/>
                <a:gd name="T58" fmla="*/ 241 w 313"/>
                <a:gd name="T59" fmla="*/ 206 h 223"/>
                <a:gd name="T60" fmla="*/ 246 w 313"/>
                <a:gd name="T61" fmla="*/ 210 h 223"/>
                <a:gd name="T62" fmla="*/ 246 w 313"/>
                <a:gd name="T63" fmla="*/ 219 h 223"/>
                <a:gd name="T64" fmla="*/ 246 w 313"/>
                <a:gd name="T65" fmla="*/ 210 h 223"/>
                <a:gd name="T66" fmla="*/ 246 w 313"/>
                <a:gd name="T67" fmla="*/ 201 h 223"/>
                <a:gd name="T68" fmla="*/ 250 w 313"/>
                <a:gd name="T69" fmla="*/ 214 h 223"/>
                <a:gd name="T70" fmla="*/ 259 w 313"/>
                <a:gd name="T71" fmla="*/ 223 h 223"/>
                <a:gd name="T72" fmla="*/ 264 w 313"/>
                <a:gd name="T73" fmla="*/ 219 h 223"/>
                <a:gd name="T74" fmla="*/ 264 w 313"/>
                <a:gd name="T75" fmla="*/ 214 h 223"/>
                <a:gd name="T76" fmla="*/ 250 w 313"/>
                <a:gd name="T77" fmla="*/ 214 h 223"/>
                <a:gd name="T78" fmla="*/ 264 w 313"/>
                <a:gd name="T79" fmla="*/ 192 h 223"/>
                <a:gd name="T80" fmla="*/ 255 w 313"/>
                <a:gd name="T81" fmla="*/ 192 h 223"/>
                <a:gd name="T82" fmla="*/ 255 w 313"/>
                <a:gd name="T83" fmla="*/ 206 h 223"/>
                <a:gd name="T84" fmla="*/ 264 w 313"/>
                <a:gd name="T85" fmla="*/ 210 h 223"/>
                <a:gd name="T86" fmla="*/ 273 w 313"/>
                <a:gd name="T87" fmla="*/ 210 h 223"/>
                <a:gd name="T88" fmla="*/ 273 w 313"/>
                <a:gd name="T89" fmla="*/ 201 h 223"/>
                <a:gd name="T90" fmla="*/ 273 w 313"/>
                <a:gd name="T91" fmla="*/ 197 h 223"/>
                <a:gd name="T92" fmla="*/ 273 w 313"/>
                <a:gd name="T93" fmla="*/ 183 h 223"/>
                <a:gd name="T94" fmla="*/ 264 w 313"/>
                <a:gd name="T95" fmla="*/ 183 h 223"/>
                <a:gd name="T96" fmla="*/ 304 w 313"/>
                <a:gd name="T97" fmla="*/ 210 h 223"/>
                <a:gd name="T98" fmla="*/ 313 w 313"/>
                <a:gd name="T99" fmla="*/ 206 h 22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13"/>
                <a:gd name="T151" fmla="*/ 0 h 223"/>
                <a:gd name="T152" fmla="*/ 313 w 313"/>
                <a:gd name="T153" fmla="*/ 223 h 22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13" h="223">
                  <a:moveTo>
                    <a:pt x="0" y="4"/>
                  </a:moveTo>
                  <a:lnTo>
                    <a:pt x="0" y="9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9" y="22"/>
                  </a:lnTo>
                  <a:lnTo>
                    <a:pt x="5" y="27"/>
                  </a:lnTo>
                  <a:lnTo>
                    <a:pt x="9" y="31"/>
                  </a:lnTo>
                  <a:lnTo>
                    <a:pt x="5" y="27"/>
                  </a:lnTo>
                  <a:lnTo>
                    <a:pt x="9" y="18"/>
                  </a:lnTo>
                  <a:lnTo>
                    <a:pt x="5" y="13"/>
                  </a:lnTo>
                  <a:lnTo>
                    <a:pt x="5" y="4"/>
                  </a:lnTo>
                  <a:lnTo>
                    <a:pt x="14" y="0"/>
                  </a:lnTo>
                  <a:lnTo>
                    <a:pt x="9" y="0"/>
                  </a:lnTo>
                  <a:lnTo>
                    <a:pt x="0" y="4"/>
                  </a:lnTo>
                  <a:close/>
                  <a:moveTo>
                    <a:pt x="224" y="219"/>
                  </a:moveTo>
                  <a:lnTo>
                    <a:pt x="241" y="214"/>
                  </a:lnTo>
                  <a:lnTo>
                    <a:pt x="237" y="210"/>
                  </a:lnTo>
                  <a:lnTo>
                    <a:pt x="237" y="206"/>
                  </a:lnTo>
                  <a:lnTo>
                    <a:pt x="241" y="197"/>
                  </a:lnTo>
                  <a:lnTo>
                    <a:pt x="237" y="192"/>
                  </a:lnTo>
                  <a:lnTo>
                    <a:pt x="241" y="192"/>
                  </a:lnTo>
                  <a:lnTo>
                    <a:pt x="241" y="188"/>
                  </a:lnTo>
                  <a:lnTo>
                    <a:pt x="241" y="179"/>
                  </a:lnTo>
                  <a:lnTo>
                    <a:pt x="246" y="183"/>
                  </a:lnTo>
                  <a:lnTo>
                    <a:pt x="250" y="174"/>
                  </a:lnTo>
                  <a:lnTo>
                    <a:pt x="250" y="170"/>
                  </a:lnTo>
                  <a:lnTo>
                    <a:pt x="246" y="170"/>
                  </a:lnTo>
                  <a:lnTo>
                    <a:pt x="246" y="165"/>
                  </a:lnTo>
                  <a:lnTo>
                    <a:pt x="241" y="156"/>
                  </a:lnTo>
                  <a:lnTo>
                    <a:pt x="241" y="152"/>
                  </a:lnTo>
                  <a:lnTo>
                    <a:pt x="246" y="156"/>
                  </a:lnTo>
                  <a:lnTo>
                    <a:pt x="250" y="147"/>
                  </a:lnTo>
                  <a:lnTo>
                    <a:pt x="246" y="143"/>
                  </a:lnTo>
                  <a:lnTo>
                    <a:pt x="246" y="139"/>
                  </a:lnTo>
                  <a:lnTo>
                    <a:pt x="246" y="134"/>
                  </a:lnTo>
                  <a:lnTo>
                    <a:pt x="241" y="134"/>
                  </a:lnTo>
                  <a:lnTo>
                    <a:pt x="237" y="152"/>
                  </a:lnTo>
                  <a:lnTo>
                    <a:pt x="224" y="156"/>
                  </a:lnTo>
                  <a:lnTo>
                    <a:pt x="219" y="161"/>
                  </a:lnTo>
                  <a:lnTo>
                    <a:pt x="219" y="165"/>
                  </a:lnTo>
                  <a:lnTo>
                    <a:pt x="224" y="165"/>
                  </a:lnTo>
                  <a:lnTo>
                    <a:pt x="224" y="170"/>
                  </a:lnTo>
                  <a:lnTo>
                    <a:pt x="219" y="170"/>
                  </a:lnTo>
                  <a:lnTo>
                    <a:pt x="219" y="174"/>
                  </a:lnTo>
                  <a:lnTo>
                    <a:pt x="224" y="174"/>
                  </a:lnTo>
                  <a:lnTo>
                    <a:pt x="219" y="179"/>
                  </a:lnTo>
                  <a:lnTo>
                    <a:pt x="219" y="183"/>
                  </a:lnTo>
                  <a:lnTo>
                    <a:pt x="224" y="188"/>
                  </a:lnTo>
                  <a:lnTo>
                    <a:pt x="219" y="192"/>
                  </a:lnTo>
                  <a:lnTo>
                    <a:pt x="219" y="201"/>
                  </a:lnTo>
                  <a:lnTo>
                    <a:pt x="224" y="197"/>
                  </a:lnTo>
                  <a:lnTo>
                    <a:pt x="224" y="206"/>
                  </a:lnTo>
                  <a:lnTo>
                    <a:pt x="224" y="214"/>
                  </a:lnTo>
                  <a:lnTo>
                    <a:pt x="224" y="219"/>
                  </a:lnTo>
                  <a:close/>
                  <a:moveTo>
                    <a:pt x="241" y="197"/>
                  </a:moveTo>
                  <a:lnTo>
                    <a:pt x="241" y="206"/>
                  </a:lnTo>
                  <a:lnTo>
                    <a:pt x="241" y="210"/>
                  </a:lnTo>
                  <a:lnTo>
                    <a:pt x="246" y="210"/>
                  </a:lnTo>
                  <a:lnTo>
                    <a:pt x="246" y="219"/>
                  </a:lnTo>
                  <a:lnTo>
                    <a:pt x="250" y="210"/>
                  </a:lnTo>
                  <a:lnTo>
                    <a:pt x="246" y="210"/>
                  </a:lnTo>
                  <a:lnTo>
                    <a:pt x="246" y="206"/>
                  </a:lnTo>
                  <a:lnTo>
                    <a:pt x="246" y="201"/>
                  </a:lnTo>
                  <a:lnTo>
                    <a:pt x="241" y="197"/>
                  </a:lnTo>
                  <a:close/>
                  <a:moveTo>
                    <a:pt x="250" y="214"/>
                  </a:moveTo>
                  <a:lnTo>
                    <a:pt x="250" y="219"/>
                  </a:lnTo>
                  <a:lnTo>
                    <a:pt x="259" y="223"/>
                  </a:lnTo>
                  <a:lnTo>
                    <a:pt x="264" y="219"/>
                  </a:lnTo>
                  <a:lnTo>
                    <a:pt x="268" y="219"/>
                  </a:lnTo>
                  <a:lnTo>
                    <a:pt x="264" y="214"/>
                  </a:lnTo>
                  <a:lnTo>
                    <a:pt x="259" y="214"/>
                  </a:lnTo>
                  <a:lnTo>
                    <a:pt x="250" y="214"/>
                  </a:lnTo>
                  <a:close/>
                  <a:moveTo>
                    <a:pt x="264" y="183"/>
                  </a:moveTo>
                  <a:lnTo>
                    <a:pt x="264" y="192"/>
                  </a:lnTo>
                  <a:lnTo>
                    <a:pt x="259" y="183"/>
                  </a:lnTo>
                  <a:lnTo>
                    <a:pt x="255" y="192"/>
                  </a:lnTo>
                  <a:lnTo>
                    <a:pt x="250" y="192"/>
                  </a:lnTo>
                  <a:lnTo>
                    <a:pt x="255" y="206"/>
                  </a:lnTo>
                  <a:lnTo>
                    <a:pt x="259" y="206"/>
                  </a:lnTo>
                  <a:lnTo>
                    <a:pt x="264" y="210"/>
                  </a:lnTo>
                  <a:lnTo>
                    <a:pt x="273" y="214"/>
                  </a:lnTo>
                  <a:lnTo>
                    <a:pt x="273" y="210"/>
                  </a:lnTo>
                  <a:lnTo>
                    <a:pt x="268" y="206"/>
                  </a:lnTo>
                  <a:lnTo>
                    <a:pt x="273" y="201"/>
                  </a:lnTo>
                  <a:lnTo>
                    <a:pt x="268" y="197"/>
                  </a:lnTo>
                  <a:lnTo>
                    <a:pt x="273" y="197"/>
                  </a:lnTo>
                  <a:lnTo>
                    <a:pt x="273" y="192"/>
                  </a:lnTo>
                  <a:lnTo>
                    <a:pt x="273" y="183"/>
                  </a:lnTo>
                  <a:lnTo>
                    <a:pt x="268" y="179"/>
                  </a:lnTo>
                  <a:lnTo>
                    <a:pt x="264" y="183"/>
                  </a:lnTo>
                  <a:close/>
                  <a:moveTo>
                    <a:pt x="308" y="206"/>
                  </a:moveTo>
                  <a:lnTo>
                    <a:pt x="304" y="210"/>
                  </a:lnTo>
                  <a:lnTo>
                    <a:pt x="313" y="210"/>
                  </a:lnTo>
                  <a:lnTo>
                    <a:pt x="313" y="206"/>
                  </a:lnTo>
                  <a:lnTo>
                    <a:pt x="308" y="206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89" name="Freeform 211"/>
            <p:cNvSpPr>
              <a:spLocks noEditPoints="1"/>
            </p:cNvSpPr>
            <p:nvPr/>
          </p:nvSpPr>
          <p:spPr bwMode="gray">
            <a:xfrm>
              <a:off x="3036" y="1689"/>
              <a:ext cx="98" cy="62"/>
            </a:xfrm>
            <a:custGeom>
              <a:avLst/>
              <a:gdLst>
                <a:gd name="T0" fmla="*/ 4 w 98"/>
                <a:gd name="T1" fmla="*/ 31 h 62"/>
                <a:gd name="T2" fmla="*/ 0 w 98"/>
                <a:gd name="T3" fmla="*/ 36 h 62"/>
                <a:gd name="T4" fmla="*/ 4 w 98"/>
                <a:gd name="T5" fmla="*/ 40 h 62"/>
                <a:gd name="T6" fmla="*/ 0 w 98"/>
                <a:gd name="T7" fmla="*/ 45 h 62"/>
                <a:gd name="T8" fmla="*/ 4 w 98"/>
                <a:gd name="T9" fmla="*/ 49 h 62"/>
                <a:gd name="T10" fmla="*/ 9 w 98"/>
                <a:gd name="T11" fmla="*/ 40 h 62"/>
                <a:gd name="T12" fmla="*/ 13 w 98"/>
                <a:gd name="T13" fmla="*/ 40 h 62"/>
                <a:gd name="T14" fmla="*/ 22 w 98"/>
                <a:gd name="T15" fmla="*/ 31 h 62"/>
                <a:gd name="T16" fmla="*/ 22 w 98"/>
                <a:gd name="T17" fmla="*/ 27 h 62"/>
                <a:gd name="T18" fmla="*/ 18 w 98"/>
                <a:gd name="T19" fmla="*/ 27 h 62"/>
                <a:gd name="T20" fmla="*/ 13 w 98"/>
                <a:gd name="T21" fmla="*/ 27 h 62"/>
                <a:gd name="T22" fmla="*/ 22 w 98"/>
                <a:gd name="T23" fmla="*/ 22 h 62"/>
                <a:gd name="T24" fmla="*/ 13 w 98"/>
                <a:gd name="T25" fmla="*/ 18 h 62"/>
                <a:gd name="T26" fmla="*/ 9 w 98"/>
                <a:gd name="T27" fmla="*/ 22 h 62"/>
                <a:gd name="T28" fmla="*/ 13 w 98"/>
                <a:gd name="T29" fmla="*/ 27 h 62"/>
                <a:gd name="T30" fmla="*/ 13 w 98"/>
                <a:gd name="T31" fmla="*/ 27 h 62"/>
                <a:gd name="T32" fmla="*/ 4 w 98"/>
                <a:gd name="T33" fmla="*/ 31 h 62"/>
                <a:gd name="T34" fmla="*/ 40 w 98"/>
                <a:gd name="T35" fmla="*/ 54 h 62"/>
                <a:gd name="T36" fmla="*/ 53 w 98"/>
                <a:gd name="T37" fmla="*/ 49 h 62"/>
                <a:gd name="T38" fmla="*/ 62 w 98"/>
                <a:gd name="T39" fmla="*/ 54 h 62"/>
                <a:gd name="T40" fmla="*/ 71 w 98"/>
                <a:gd name="T41" fmla="*/ 58 h 62"/>
                <a:gd name="T42" fmla="*/ 76 w 98"/>
                <a:gd name="T43" fmla="*/ 58 h 62"/>
                <a:gd name="T44" fmla="*/ 85 w 98"/>
                <a:gd name="T45" fmla="*/ 62 h 62"/>
                <a:gd name="T46" fmla="*/ 94 w 98"/>
                <a:gd name="T47" fmla="*/ 58 h 62"/>
                <a:gd name="T48" fmla="*/ 98 w 98"/>
                <a:gd name="T49" fmla="*/ 54 h 62"/>
                <a:gd name="T50" fmla="*/ 89 w 98"/>
                <a:gd name="T51" fmla="*/ 45 h 62"/>
                <a:gd name="T52" fmla="*/ 85 w 98"/>
                <a:gd name="T53" fmla="*/ 36 h 62"/>
                <a:gd name="T54" fmla="*/ 85 w 98"/>
                <a:gd name="T55" fmla="*/ 31 h 62"/>
                <a:gd name="T56" fmla="*/ 85 w 98"/>
                <a:gd name="T57" fmla="*/ 22 h 62"/>
                <a:gd name="T58" fmla="*/ 94 w 98"/>
                <a:gd name="T59" fmla="*/ 18 h 62"/>
                <a:gd name="T60" fmla="*/ 98 w 98"/>
                <a:gd name="T61" fmla="*/ 9 h 62"/>
                <a:gd name="T62" fmla="*/ 94 w 98"/>
                <a:gd name="T63" fmla="*/ 0 h 62"/>
                <a:gd name="T64" fmla="*/ 89 w 98"/>
                <a:gd name="T65" fmla="*/ 4 h 62"/>
                <a:gd name="T66" fmla="*/ 71 w 98"/>
                <a:gd name="T67" fmla="*/ 0 h 62"/>
                <a:gd name="T68" fmla="*/ 40 w 98"/>
                <a:gd name="T69" fmla="*/ 9 h 62"/>
                <a:gd name="T70" fmla="*/ 27 w 98"/>
                <a:gd name="T71" fmla="*/ 18 h 62"/>
                <a:gd name="T72" fmla="*/ 27 w 98"/>
                <a:gd name="T73" fmla="*/ 31 h 62"/>
                <a:gd name="T74" fmla="*/ 35 w 98"/>
                <a:gd name="T75" fmla="*/ 40 h 62"/>
                <a:gd name="T76" fmla="*/ 40 w 98"/>
                <a:gd name="T77" fmla="*/ 36 h 62"/>
                <a:gd name="T78" fmla="*/ 40 w 98"/>
                <a:gd name="T79" fmla="*/ 54 h 6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8"/>
                <a:gd name="T121" fmla="*/ 0 h 62"/>
                <a:gd name="T122" fmla="*/ 98 w 98"/>
                <a:gd name="T123" fmla="*/ 62 h 6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8" h="62">
                  <a:moveTo>
                    <a:pt x="4" y="31"/>
                  </a:moveTo>
                  <a:lnTo>
                    <a:pt x="0" y="36"/>
                  </a:lnTo>
                  <a:lnTo>
                    <a:pt x="4" y="40"/>
                  </a:lnTo>
                  <a:lnTo>
                    <a:pt x="0" y="45"/>
                  </a:lnTo>
                  <a:lnTo>
                    <a:pt x="4" y="49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22" y="31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22" y="22"/>
                  </a:lnTo>
                  <a:lnTo>
                    <a:pt x="13" y="18"/>
                  </a:lnTo>
                  <a:lnTo>
                    <a:pt x="9" y="22"/>
                  </a:lnTo>
                  <a:lnTo>
                    <a:pt x="13" y="27"/>
                  </a:lnTo>
                  <a:lnTo>
                    <a:pt x="4" y="31"/>
                  </a:lnTo>
                  <a:close/>
                  <a:moveTo>
                    <a:pt x="40" y="54"/>
                  </a:moveTo>
                  <a:lnTo>
                    <a:pt x="53" y="49"/>
                  </a:lnTo>
                  <a:lnTo>
                    <a:pt x="62" y="54"/>
                  </a:lnTo>
                  <a:lnTo>
                    <a:pt x="71" y="58"/>
                  </a:lnTo>
                  <a:lnTo>
                    <a:pt x="76" y="58"/>
                  </a:lnTo>
                  <a:lnTo>
                    <a:pt x="85" y="62"/>
                  </a:lnTo>
                  <a:lnTo>
                    <a:pt x="94" y="58"/>
                  </a:lnTo>
                  <a:lnTo>
                    <a:pt x="98" y="54"/>
                  </a:lnTo>
                  <a:lnTo>
                    <a:pt x="89" y="45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5" y="22"/>
                  </a:lnTo>
                  <a:lnTo>
                    <a:pt x="94" y="18"/>
                  </a:lnTo>
                  <a:lnTo>
                    <a:pt x="98" y="9"/>
                  </a:lnTo>
                  <a:lnTo>
                    <a:pt x="94" y="0"/>
                  </a:lnTo>
                  <a:lnTo>
                    <a:pt x="89" y="4"/>
                  </a:lnTo>
                  <a:lnTo>
                    <a:pt x="71" y="0"/>
                  </a:lnTo>
                  <a:lnTo>
                    <a:pt x="40" y="9"/>
                  </a:lnTo>
                  <a:lnTo>
                    <a:pt x="27" y="18"/>
                  </a:lnTo>
                  <a:lnTo>
                    <a:pt x="27" y="31"/>
                  </a:lnTo>
                  <a:lnTo>
                    <a:pt x="35" y="40"/>
                  </a:lnTo>
                  <a:lnTo>
                    <a:pt x="40" y="36"/>
                  </a:lnTo>
                  <a:lnTo>
                    <a:pt x="40" y="5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0" name="Freeform 212"/>
            <p:cNvSpPr>
              <a:spLocks/>
            </p:cNvSpPr>
            <p:nvPr/>
          </p:nvSpPr>
          <p:spPr bwMode="gray">
            <a:xfrm>
              <a:off x="3018" y="1327"/>
              <a:ext cx="165" cy="362"/>
            </a:xfrm>
            <a:custGeom>
              <a:avLst/>
              <a:gdLst>
                <a:gd name="T0" fmla="*/ 18 w 165"/>
                <a:gd name="T1" fmla="*/ 54 h 362"/>
                <a:gd name="T2" fmla="*/ 45 w 165"/>
                <a:gd name="T3" fmla="*/ 76 h 362"/>
                <a:gd name="T4" fmla="*/ 53 w 165"/>
                <a:gd name="T5" fmla="*/ 121 h 362"/>
                <a:gd name="T6" fmla="*/ 49 w 165"/>
                <a:gd name="T7" fmla="*/ 152 h 362"/>
                <a:gd name="T8" fmla="*/ 58 w 165"/>
                <a:gd name="T9" fmla="*/ 165 h 362"/>
                <a:gd name="T10" fmla="*/ 67 w 165"/>
                <a:gd name="T11" fmla="*/ 192 h 362"/>
                <a:gd name="T12" fmla="*/ 45 w 165"/>
                <a:gd name="T13" fmla="*/ 219 h 362"/>
                <a:gd name="T14" fmla="*/ 22 w 165"/>
                <a:gd name="T15" fmla="*/ 250 h 362"/>
                <a:gd name="T16" fmla="*/ 9 w 165"/>
                <a:gd name="T17" fmla="*/ 264 h 362"/>
                <a:gd name="T18" fmla="*/ 13 w 165"/>
                <a:gd name="T19" fmla="*/ 277 h 362"/>
                <a:gd name="T20" fmla="*/ 13 w 165"/>
                <a:gd name="T21" fmla="*/ 313 h 362"/>
                <a:gd name="T22" fmla="*/ 27 w 165"/>
                <a:gd name="T23" fmla="*/ 335 h 362"/>
                <a:gd name="T24" fmla="*/ 36 w 165"/>
                <a:gd name="T25" fmla="*/ 340 h 362"/>
                <a:gd name="T26" fmla="*/ 36 w 165"/>
                <a:gd name="T27" fmla="*/ 348 h 362"/>
                <a:gd name="T28" fmla="*/ 40 w 165"/>
                <a:gd name="T29" fmla="*/ 353 h 362"/>
                <a:gd name="T30" fmla="*/ 40 w 165"/>
                <a:gd name="T31" fmla="*/ 362 h 362"/>
                <a:gd name="T32" fmla="*/ 58 w 165"/>
                <a:gd name="T33" fmla="*/ 348 h 362"/>
                <a:gd name="T34" fmla="*/ 62 w 165"/>
                <a:gd name="T35" fmla="*/ 353 h 362"/>
                <a:gd name="T36" fmla="*/ 76 w 165"/>
                <a:gd name="T37" fmla="*/ 348 h 362"/>
                <a:gd name="T38" fmla="*/ 85 w 165"/>
                <a:gd name="T39" fmla="*/ 344 h 362"/>
                <a:gd name="T40" fmla="*/ 98 w 165"/>
                <a:gd name="T41" fmla="*/ 340 h 362"/>
                <a:gd name="T42" fmla="*/ 112 w 165"/>
                <a:gd name="T43" fmla="*/ 340 h 362"/>
                <a:gd name="T44" fmla="*/ 129 w 165"/>
                <a:gd name="T45" fmla="*/ 322 h 362"/>
                <a:gd name="T46" fmla="*/ 161 w 165"/>
                <a:gd name="T47" fmla="*/ 281 h 362"/>
                <a:gd name="T48" fmla="*/ 147 w 165"/>
                <a:gd name="T49" fmla="*/ 255 h 362"/>
                <a:gd name="T50" fmla="*/ 147 w 165"/>
                <a:gd name="T51" fmla="*/ 228 h 362"/>
                <a:gd name="T52" fmla="*/ 143 w 165"/>
                <a:gd name="T53" fmla="*/ 214 h 362"/>
                <a:gd name="T54" fmla="*/ 134 w 165"/>
                <a:gd name="T55" fmla="*/ 165 h 362"/>
                <a:gd name="T56" fmla="*/ 134 w 165"/>
                <a:gd name="T57" fmla="*/ 147 h 362"/>
                <a:gd name="T58" fmla="*/ 120 w 165"/>
                <a:gd name="T59" fmla="*/ 116 h 362"/>
                <a:gd name="T60" fmla="*/ 134 w 165"/>
                <a:gd name="T61" fmla="*/ 80 h 362"/>
                <a:gd name="T62" fmla="*/ 116 w 165"/>
                <a:gd name="T63" fmla="*/ 54 h 362"/>
                <a:gd name="T64" fmla="*/ 112 w 165"/>
                <a:gd name="T65" fmla="*/ 40 h 362"/>
                <a:gd name="T66" fmla="*/ 116 w 165"/>
                <a:gd name="T67" fmla="*/ 31 h 362"/>
                <a:gd name="T68" fmla="*/ 120 w 165"/>
                <a:gd name="T69" fmla="*/ 9 h 362"/>
                <a:gd name="T70" fmla="*/ 107 w 165"/>
                <a:gd name="T71" fmla="*/ 0 h 362"/>
                <a:gd name="T72" fmla="*/ 76 w 165"/>
                <a:gd name="T73" fmla="*/ 22 h 362"/>
                <a:gd name="T74" fmla="*/ 62 w 165"/>
                <a:gd name="T75" fmla="*/ 58 h 362"/>
                <a:gd name="T76" fmla="*/ 31 w 165"/>
                <a:gd name="T77" fmla="*/ 54 h 362"/>
                <a:gd name="T78" fmla="*/ 9 w 165"/>
                <a:gd name="T79" fmla="*/ 31 h 362"/>
                <a:gd name="T80" fmla="*/ 0 w 165"/>
                <a:gd name="T81" fmla="*/ 36 h 36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65"/>
                <a:gd name="T124" fmla="*/ 0 h 362"/>
                <a:gd name="T125" fmla="*/ 165 w 165"/>
                <a:gd name="T126" fmla="*/ 362 h 36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65" h="362">
                  <a:moveTo>
                    <a:pt x="4" y="40"/>
                  </a:moveTo>
                  <a:lnTo>
                    <a:pt x="18" y="54"/>
                  </a:lnTo>
                  <a:lnTo>
                    <a:pt x="40" y="62"/>
                  </a:lnTo>
                  <a:lnTo>
                    <a:pt x="45" y="76"/>
                  </a:lnTo>
                  <a:lnTo>
                    <a:pt x="49" y="98"/>
                  </a:lnTo>
                  <a:lnTo>
                    <a:pt x="53" y="121"/>
                  </a:lnTo>
                  <a:lnTo>
                    <a:pt x="49" y="138"/>
                  </a:lnTo>
                  <a:lnTo>
                    <a:pt x="49" y="152"/>
                  </a:lnTo>
                  <a:lnTo>
                    <a:pt x="53" y="165"/>
                  </a:lnTo>
                  <a:lnTo>
                    <a:pt x="58" y="165"/>
                  </a:lnTo>
                  <a:lnTo>
                    <a:pt x="71" y="183"/>
                  </a:lnTo>
                  <a:lnTo>
                    <a:pt x="67" y="192"/>
                  </a:lnTo>
                  <a:lnTo>
                    <a:pt x="71" y="197"/>
                  </a:lnTo>
                  <a:lnTo>
                    <a:pt x="45" y="219"/>
                  </a:lnTo>
                  <a:lnTo>
                    <a:pt x="31" y="237"/>
                  </a:lnTo>
                  <a:lnTo>
                    <a:pt x="22" y="250"/>
                  </a:lnTo>
                  <a:lnTo>
                    <a:pt x="13" y="250"/>
                  </a:lnTo>
                  <a:lnTo>
                    <a:pt x="9" y="264"/>
                  </a:lnTo>
                  <a:lnTo>
                    <a:pt x="9" y="277"/>
                  </a:lnTo>
                  <a:lnTo>
                    <a:pt x="13" y="277"/>
                  </a:lnTo>
                  <a:lnTo>
                    <a:pt x="18" y="299"/>
                  </a:lnTo>
                  <a:lnTo>
                    <a:pt x="13" y="313"/>
                  </a:lnTo>
                  <a:lnTo>
                    <a:pt x="18" y="331"/>
                  </a:lnTo>
                  <a:lnTo>
                    <a:pt x="27" y="335"/>
                  </a:lnTo>
                  <a:lnTo>
                    <a:pt x="31" y="344"/>
                  </a:lnTo>
                  <a:lnTo>
                    <a:pt x="36" y="340"/>
                  </a:lnTo>
                  <a:lnTo>
                    <a:pt x="36" y="344"/>
                  </a:lnTo>
                  <a:lnTo>
                    <a:pt x="36" y="348"/>
                  </a:lnTo>
                  <a:lnTo>
                    <a:pt x="36" y="353"/>
                  </a:lnTo>
                  <a:lnTo>
                    <a:pt x="40" y="353"/>
                  </a:lnTo>
                  <a:lnTo>
                    <a:pt x="36" y="362"/>
                  </a:lnTo>
                  <a:lnTo>
                    <a:pt x="40" y="362"/>
                  </a:lnTo>
                  <a:lnTo>
                    <a:pt x="45" y="353"/>
                  </a:lnTo>
                  <a:lnTo>
                    <a:pt x="58" y="348"/>
                  </a:lnTo>
                  <a:lnTo>
                    <a:pt x="58" y="353"/>
                  </a:lnTo>
                  <a:lnTo>
                    <a:pt x="62" y="353"/>
                  </a:lnTo>
                  <a:lnTo>
                    <a:pt x="67" y="344"/>
                  </a:lnTo>
                  <a:lnTo>
                    <a:pt x="76" y="348"/>
                  </a:lnTo>
                  <a:lnTo>
                    <a:pt x="80" y="344"/>
                  </a:lnTo>
                  <a:lnTo>
                    <a:pt x="85" y="344"/>
                  </a:lnTo>
                  <a:lnTo>
                    <a:pt x="94" y="344"/>
                  </a:lnTo>
                  <a:lnTo>
                    <a:pt x="98" y="340"/>
                  </a:lnTo>
                  <a:lnTo>
                    <a:pt x="107" y="344"/>
                  </a:lnTo>
                  <a:lnTo>
                    <a:pt x="112" y="340"/>
                  </a:lnTo>
                  <a:lnTo>
                    <a:pt x="120" y="331"/>
                  </a:lnTo>
                  <a:lnTo>
                    <a:pt x="129" y="322"/>
                  </a:lnTo>
                  <a:lnTo>
                    <a:pt x="134" y="308"/>
                  </a:lnTo>
                  <a:lnTo>
                    <a:pt x="161" y="281"/>
                  </a:lnTo>
                  <a:lnTo>
                    <a:pt x="165" y="273"/>
                  </a:lnTo>
                  <a:lnTo>
                    <a:pt x="147" y="255"/>
                  </a:lnTo>
                  <a:lnTo>
                    <a:pt x="134" y="241"/>
                  </a:lnTo>
                  <a:lnTo>
                    <a:pt x="147" y="228"/>
                  </a:lnTo>
                  <a:lnTo>
                    <a:pt x="134" y="219"/>
                  </a:lnTo>
                  <a:lnTo>
                    <a:pt x="143" y="214"/>
                  </a:lnTo>
                  <a:lnTo>
                    <a:pt x="134" y="210"/>
                  </a:lnTo>
                  <a:lnTo>
                    <a:pt x="134" y="165"/>
                  </a:lnTo>
                  <a:lnTo>
                    <a:pt x="143" y="161"/>
                  </a:lnTo>
                  <a:lnTo>
                    <a:pt x="134" y="147"/>
                  </a:lnTo>
                  <a:lnTo>
                    <a:pt x="129" y="130"/>
                  </a:lnTo>
                  <a:lnTo>
                    <a:pt x="120" y="116"/>
                  </a:lnTo>
                  <a:lnTo>
                    <a:pt x="134" y="89"/>
                  </a:lnTo>
                  <a:lnTo>
                    <a:pt x="134" y="80"/>
                  </a:lnTo>
                  <a:lnTo>
                    <a:pt x="120" y="71"/>
                  </a:lnTo>
                  <a:lnTo>
                    <a:pt x="116" y="54"/>
                  </a:lnTo>
                  <a:lnTo>
                    <a:pt x="125" y="36"/>
                  </a:lnTo>
                  <a:lnTo>
                    <a:pt x="112" y="40"/>
                  </a:lnTo>
                  <a:lnTo>
                    <a:pt x="112" y="36"/>
                  </a:lnTo>
                  <a:lnTo>
                    <a:pt x="116" y="31"/>
                  </a:lnTo>
                  <a:lnTo>
                    <a:pt x="120" y="13"/>
                  </a:lnTo>
                  <a:lnTo>
                    <a:pt x="120" y="9"/>
                  </a:lnTo>
                  <a:lnTo>
                    <a:pt x="112" y="9"/>
                  </a:lnTo>
                  <a:lnTo>
                    <a:pt x="107" y="0"/>
                  </a:lnTo>
                  <a:lnTo>
                    <a:pt x="89" y="4"/>
                  </a:lnTo>
                  <a:lnTo>
                    <a:pt x="76" y="22"/>
                  </a:lnTo>
                  <a:lnTo>
                    <a:pt x="76" y="45"/>
                  </a:lnTo>
                  <a:lnTo>
                    <a:pt x="62" y="58"/>
                  </a:lnTo>
                  <a:lnTo>
                    <a:pt x="53" y="54"/>
                  </a:lnTo>
                  <a:lnTo>
                    <a:pt x="31" y="54"/>
                  </a:lnTo>
                  <a:lnTo>
                    <a:pt x="18" y="31"/>
                  </a:lnTo>
                  <a:lnTo>
                    <a:pt x="9" y="31"/>
                  </a:lnTo>
                  <a:lnTo>
                    <a:pt x="9" y="36"/>
                  </a:lnTo>
                  <a:lnTo>
                    <a:pt x="0" y="36"/>
                  </a:lnTo>
                  <a:lnTo>
                    <a:pt x="4" y="4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1" name="Freeform 213"/>
            <p:cNvSpPr>
              <a:spLocks noEditPoints="1"/>
            </p:cNvSpPr>
            <p:nvPr/>
          </p:nvSpPr>
          <p:spPr bwMode="gray">
            <a:xfrm>
              <a:off x="2661" y="1908"/>
              <a:ext cx="205" cy="205"/>
            </a:xfrm>
            <a:custGeom>
              <a:avLst/>
              <a:gdLst>
                <a:gd name="T0" fmla="*/ 49 w 205"/>
                <a:gd name="T1" fmla="*/ 174 h 205"/>
                <a:gd name="T2" fmla="*/ 67 w 205"/>
                <a:gd name="T3" fmla="*/ 183 h 205"/>
                <a:gd name="T4" fmla="*/ 89 w 205"/>
                <a:gd name="T5" fmla="*/ 183 h 205"/>
                <a:gd name="T6" fmla="*/ 107 w 205"/>
                <a:gd name="T7" fmla="*/ 188 h 205"/>
                <a:gd name="T8" fmla="*/ 116 w 205"/>
                <a:gd name="T9" fmla="*/ 174 h 205"/>
                <a:gd name="T10" fmla="*/ 129 w 205"/>
                <a:gd name="T11" fmla="*/ 174 h 205"/>
                <a:gd name="T12" fmla="*/ 142 w 205"/>
                <a:gd name="T13" fmla="*/ 170 h 205"/>
                <a:gd name="T14" fmla="*/ 165 w 205"/>
                <a:gd name="T15" fmla="*/ 170 h 205"/>
                <a:gd name="T16" fmla="*/ 178 w 205"/>
                <a:gd name="T17" fmla="*/ 161 h 205"/>
                <a:gd name="T18" fmla="*/ 165 w 205"/>
                <a:gd name="T19" fmla="*/ 156 h 205"/>
                <a:gd name="T20" fmla="*/ 160 w 205"/>
                <a:gd name="T21" fmla="*/ 129 h 205"/>
                <a:gd name="T22" fmla="*/ 169 w 205"/>
                <a:gd name="T23" fmla="*/ 116 h 205"/>
                <a:gd name="T24" fmla="*/ 160 w 205"/>
                <a:gd name="T25" fmla="*/ 103 h 205"/>
                <a:gd name="T26" fmla="*/ 156 w 205"/>
                <a:gd name="T27" fmla="*/ 103 h 205"/>
                <a:gd name="T28" fmla="*/ 165 w 205"/>
                <a:gd name="T29" fmla="*/ 85 h 205"/>
                <a:gd name="T30" fmla="*/ 178 w 205"/>
                <a:gd name="T31" fmla="*/ 80 h 205"/>
                <a:gd name="T32" fmla="*/ 183 w 205"/>
                <a:gd name="T33" fmla="*/ 53 h 205"/>
                <a:gd name="T34" fmla="*/ 174 w 205"/>
                <a:gd name="T35" fmla="*/ 45 h 205"/>
                <a:gd name="T36" fmla="*/ 160 w 205"/>
                <a:gd name="T37" fmla="*/ 40 h 205"/>
                <a:gd name="T38" fmla="*/ 151 w 205"/>
                <a:gd name="T39" fmla="*/ 40 h 205"/>
                <a:gd name="T40" fmla="*/ 142 w 205"/>
                <a:gd name="T41" fmla="*/ 36 h 205"/>
                <a:gd name="T42" fmla="*/ 138 w 205"/>
                <a:gd name="T43" fmla="*/ 22 h 205"/>
                <a:gd name="T44" fmla="*/ 125 w 205"/>
                <a:gd name="T45" fmla="*/ 27 h 205"/>
                <a:gd name="T46" fmla="*/ 120 w 205"/>
                <a:gd name="T47" fmla="*/ 18 h 205"/>
                <a:gd name="T48" fmla="*/ 111 w 205"/>
                <a:gd name="T49" fmla="*/ 13 h 205"/>
                <a:gd name="T50" fmla="*/ 93 w 205"/>
                <a:gd name="T51" fmla="*/ 4 h 205"/>
                <a:gd name="T52" fmla="*/ 93 w 205"/>
                <a:gd name="T53" fmla="*/ 22 h 205"/>
                <a:gd name="T54" fmla="*/ 93 w 205"/>
                <a:gd name="T55" fmla="*/ 27 h 205"/>
                <a:gd name="T56" fmla="*/ 80 w 205"/>
                <a:gd name="T57" fmla="*/ 31 h 205"/>
                <a:gd name="T58" fmla="*/ 67 w 205"/>
                <a:gd name="T59" fmla="*/ 36 h 205"/>
                <a:gd name="T60" fmla="*/ 67 w 205"/>
                <a:gd name="T61" fmla="*/ 40 h 205"/>
                <a:gd name="T62" fmla="*/ 49 w 205"/>
                <a:gd name="T63" fmla="*/ 45 h 205"/>
                <a:gd name="T64" fmla="*/ 40 w 205"/>
                <a:gd name="T65" fmla="*/ 36 h 205"/>
                <a:gd name="T66" fmla="*/ 44 w 205"/>
                <a:gd name="T67" fmla="*/ 45 h 205"/>
                <a:gd name="T68" fmla="*/ 49 w 205"/>
                <a:gd name="T69" fmla="*/ 58 h 205"/>
                <a:gd name="T70" fmla="*/ 35 w 205"/>
                <a:gd name="T71" fmla="*/ 58 h 205"/>
                <a:gd name="T72" fmla="*/ 22 w 205"/>
                <a:gd name="T73" fmla="*/ 53 h 205"/>
                <a:gd name="T74" fmla="*/ 17 w 205"/>
                <a:gd name="T75" fmla="*/ 58 h 205"/>
                <a:gd name="T76" fmla="*/ 8 w 205"/>
                <a:gd name="T77" fmla="*/ 58 h 205"/>
                <a:gd name="T78" fmla="*/ 0 w 205"/>
                <a:gd name="T79" fmla="*/ 62 h 205"/>
                <a:gd name="T80" fmla="*/ 4 w 205"/>
                <a:gd name="T81" fmla="*/ 62 h 205"/>
                <a:gd name="T82" fmla="*/ 0 w 205"/>
                <a:gd name="T83" fmla="*/ 67 h 205"/>
                <a:gd name="T84" fmla="*/ 4 w 205"/>
                <a:gd name="T85" fmla="*/ 76 h 205"/>
                <a:gd name="T86" fmla="*/ 22 w 205"/>
                <a:gd name="T87" fmla="*/ 80 h 205"/>
                <a:gd name="T88" fmla="*/ 26 w 205"/>
                <a:gd name="T89" fmla="*/ 80 h 205"/>
                <a:gd name="T90" fmla="*/ 35 w 205"/>
                <a:gd name="T91" fmla="*/ 89 h 205"/>
                <a:gd name="T92" fmla="*/ 40 w 205"/>
                <a:gd name="T93" fmla="*/ 98 h 205"/>
                <a:gd name="T94" fmla="*/ 53 w 205"/>
                <a:gd name="T95" fmla="*/ 112 h 205"/>
                <a:gd name="T96" fmla="*/ 49 w 205"/>
                <a:gd name="T97" fmla="*/ 116 h 205"/>
                <a:gd name="T98" fmla="*/ 58 w 205"/>
                <a:gd name="T99" fmla="*/ 129 h 205"/>
                <a:gd name="T100" fmla="*/ 49 w 205"/>
                <a:gd name="T101" fmla="*/ 129 h 205"/>
                <a:gd name="T102" fmla="*/ 53 w 205"/>
                <a:gd name="T103" fmla="*/ 138 h 205"/>
                <a:gd name="T104" fmla="*/ 49 w 205"/>
                <a:gd name="T105" fmla="*/ 147 h 205"/>
                <a:gd name="T106" fmla="*/ 44 w 205"/>
                <a:gd name="T107" fmla="*/ 165 h 205"/>
                <a:gd name="T108" fmla="*/ 192 w 205"/>
                <a:gd name="T109" fmla="*/ 192 h 205"/>
                <a:gd name="T110" fmla="*/ 192 w 205"/>
                <a:gd name="T111" fmla="*/ 205 h 205"/>
                <a:gd name="T112" fmla="*/ 205 w 205"/>
                <a:gd name="T113" fmla="*/ 188 h 205"/>
                <a:gd name="T114" fmla="*/ 196 w 205"/>
                <a:gd name="T115" fmla="*/ 174 h 205"/>
                <a:gd name="T116" fmla="*/ 192 w 205"/>
                <a:gd name="T117" fmla="*/ 183 h 20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5"/>
                <a:gd name="T178" fmla="*/ 0 h 205"/>
                <a:gd name="T179" fmla="*/ 205 w 205"/>
                <a:gd name="T180" fmla="*/ 205 h 20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5" h="205">
                  <a:moveTo>
                    <a:pt x="44" y="165"/>
                  </a:moveTo>
                  <a:lnTo>
                    <a:pt x="49" y="174"/>
                  </a:lnTo>
                  <a:lnTo>
                    <a:pt x="62" y="183"/>
                  </a:lnTo>
                  <a:lnTo>
                    <a:pt x="67" y="183"/>
                  </a:lnTo>
                  <a:lnTo>
                    <a:pt x="80" y="183"/>
                  </a:lnTo>
                  <a:lnTo>
                    <a:pt x="89" y="183"/>
                  </a:lnTo>
                  <a:lnTo>
                    <a:pt x="98" y="188"/>
                  </a:lnTo>
                  <a:lnTo>
                    <a:pt x="107" y="188"/>
                  </a:lnTo>
                  <a:lnTo>
                    <a:pt x="116" y="188"/>
                  </a:lnTo>
                  <a:lnTo>
                    <a:pt x="116" y="174"/>
                  </a:lnTo>
                  <a:lnTo>
                    <a:pt x="120" y="170"/>
                  </a:lnTo>
                  <a:lnTo>
                    <a:pt x="129" y="174"/>
                  </a:lnTo>
                  <a:lnTo>
                    <a:pt x="134" y="170"/>
                  </a:lnTo>
                  <a:lnTo>
                    <a:pt x="142" y="170"/>
                  </a:lnTo>
                  <a:lnTo>
                    <a:pt x="151" y="174"/>
                  </a:lnTo>
                  <a:lnTo>
                    <a:pt x="165" y="170"/>
                  </a:lnTo>
                  <a:lnTo>
                    <a:pt x="169" y="165"/>
                  </a:lnTo>
                  <a:lnTo>
                    <a:pt x="178" y="161"/>
                  </a:lnTo>
                  <a:lnTo>
                    <a:pt x="174" y="156"/>
                  </a:lnTo>
                  <a:lnTo>
                    <a:pt x="165" y="156"/>
                  </a:lnTo>
                  <a:lnTo>
                    <a:pt x="156" y="143"/>
                  </a:lnTo>
                  <a:lnTo>
                    <a:pt x="160" y="129"/>
                  </a:lnTo>
                  <a:lnTo>
                    <a:pt x="165" y="129"/>
                  </a:lnTo>
                  <a:lnTo>
                    <a:pt x="169" y="116"/>
                  </a:lnTo>
                  <a:lnTo>
                    <a:pt x="165" y="107"/>
                  </a:lnTo>
                  <a:lnTo>
                    <a:pt x="160" y="103"/>
                  </a:lnTo>
                  <a:lnTo>
                    <a:pt x="156" y="112"/>
                  </a:lnTo>
                  <a:lnTo>
                    <a:pt x="156" y="103"/>
                  </a:lnTo>
                  <a:lnTo>
                    <a:pt x="165" y="89"/>
                  </a:lnTo>
                  <a:lnTo>
                    <a:pt x="165" y="85"/>
                  </a:lnTo>
                  <a:lnTo>
                    <a:pt x="174" y="85"/>
                  </a:lnTo>
                  <a:lnTo>
                    <a:pt x="178" y="80"/>
                  </a:lnTo>
                  <a:lnTo>
                    <a:pt x="178" y="67"/>
                  </a:lnTo>
                  <a:lnTo>
                    <a:pt x="183" y="53"/>
                  </a:lnTo>
                  <a:lnTo>
                    <a:pt x="178" y="45"/>
                  </a:lnTo>
                  <a:lnTo>
                    <a:pt x="174" y="45"/>
                  </a:lnTo>
                  <a:lnTo>
                    <a:pt x="160" y="49"/>
                  </a:lnTo>
                  <a:lnTo>
                    <a:pt x="160" y="40"/>
                  </a:lnTo>
                  <a:lnTo>
                    <a:pt x="156" y="40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2" y="36"/>
                  </a:lnTo>
                  <a:lnTo>
                    <a:pt x="134" y="31"/>
                  </a:lnTo>
                  <a:lnTo>
                    <a:pt x="138" y="22"/>
                  </a:lnTo>
                  <a:lnTo>
                    <a:pt x="129" y="27"/>
                  </a:lnTo>
                  <a:lnTo>
                    <a:pt x="125" y="27"/>
                  </a:lnTo>
                  <a:lnTo>
                    <a:pt x="125" y="18"/>
                  </a:lnTo>
                  <a:lnTo>
                    <a:pt x="120" y="18"/>
                  </a:lnTo>
                  <a:lnTo>
                    <a:pt x="116" y="13"/>
                  </a:lnTo>
                  <a:lnTo>
                    <a:pt x="111" y="13"/>
                  </a:lnTo>
                  <a:lnTo>
                    <a:pt x="102" y="0"/>
                  </a:lnTo>
                  <a:lnTo>
                    <a:pt x="93" y="4"/>
                  </a:lnTo>
                  <a:lnTo>
                    <a:pt x="93" y="13"/>
                  </a:lnTo>
                  <a:lnTo>
                    <a:pt x="93" y="22"/>
                  </a:lnTo>
                  <a:lnTo>
                    <a:pt x="93" y="27"/>
                  </a:lnTo>
                  <a:lnTo>
                    <a:pt x="84" y="27"/>
                  </a:lnTo>
                  <a:lnTo>
                    <a:pt x="80" y="31"/>
                  </a:lnTo>
                  <a:lnTo>
                    <a:pt x="75" y="31"/>
                  </a:lnTo>
                  <a:lnTo>
                    <a:pt x="67" y="36"/>
                  </a:lnTo>
                  <a:lnTo>
                    <a:pt x="71" y="40"/>
                  </a:lnTo>
                  <a:lnTo>
                    <a:pt x="67" y="40"/>
                  </a:lnTo>
                  <a:lnTo>
                    <a:pt x="53" y="40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4" y="45"/>
                  </a:lnTo>
                  <a:lnTo>
                    <a:pt x="44" y="53"/>
                  </a:lnTo>
                  <a:lnTo>
                    <a:pt x="49" y="58"/>
                  </a:lnTo>
                  <a:lnTo>
                    <a:pt x="40" y="58"/>
                  </a:lnTo>
                  <a:lnTo>
                    <a:pt x="35" y="58"/>
                  </a:lnTo>
                  <a:lnTo>
                    <a:pt x="31" y="62"/>
                  </a:lnTo>
                  <a:lnTo>
                    <a:pt x="22" y="53"/>
                  </a:lnTo>
                  <a:lnTo>
                    <a:pt x="17" y="53"/>
                  </a:lnTo>
                  <a:lnTo>
                    <a:pt x="17" y="58"/>
                  </a:lnTo>
                  <a:lnTo>
                    <a:pt x="13" y="58"/>
                  </a:lnTo>
                  <a:lnTo>
                    <a:pt x="8" y="58"/>
                  </a:lnTo>
                  <a:lnTo>
                    <a:pt x="4" y="58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4" y="62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71"/>
                  </a:lnTo>
                  <a:lnTo>
                    <a:pt x="4" y="76"/>
                  </a:lnTo>
                  <a:lnTo>
                    <a:pt x="8" y="71"/>
                  </a:lnTo>
                  <a:lnTo>
                    <a:pt x="22" y="80"/>
                  </a:lnTo>
                  <a:lnTo>
                    <a:pt x="22" y="85"/>
                  </a:lnTo>
                  <a:lnTo>
                    <a:pt x="26" y="80"/>
                  </a:lnTo>
                  <a:lnTo>
                    <a:pt x="35" y="85"/>
                  </a:lnTo>
                  <a:lnTo>
                    <a:pt x="35" y="89"/>
                  </a:lnTo>
                  <a:lnTo>
                    <a:pt x="40" y="89"/>
                  </a:lnTo>
                  <a:lnTo>
                    <a:pt x="40" y="98"/>
                  </a:lnTo>
                  <a:lnTo>
                    <a:pt x="44" y="107"/>
                  </a:lnTo>
                  <a:lnTo>
                    <a:pt x="53" y="112"/>
                  </a:lnTo>
                  <a:lnTo>
                    <a:pt x="49" y="116"/>
                  </a:lnTo>
                  <a:lnTo>
                    <a:pt x="49" y="121"/>
                  </a:lnTo>
                  <a:lnTo>
                    <a:pt x="58" y="129"/>
                  </a:lnTo>
                  <a:lnTo>
                    <a:pt x="49" y="129"/>
                  </a:lnTo>
                  <a:lnTo>
                    <a:pt x="49" y="143"/>
                  </a:lnTo>
                  <a:lnTo>
                    <a:pt x="53" y="138"/>
                  </a:lnTo>
                  <a:lnTo>
                    <a:pt x="53" y="143"/>
                  </a:lnTo>
                  <a:lnTo>
                    <a:pt x="49" y="147"/>
                  </a:lnTo>
                  <a:lnTo>
                    <a:pt x="44" y="165"/>
                  </a:lnTo>
                  <a:close/>
                  <a:moveTo>
                    <a:pt x="192" y="183"/>
                  </a:moveTo>
                  <a:lnTo>
                    <a:pt x="192" y="192"/>
                  </a:lnTo>
                  <a:lnTo>
                    <a:pt x="187" y="196"/>
                  </a:lnTo>
                  <a:lnTo>
                    <a:pt x="192" y="205"/>
                  </a:lnTo>
                  <a:lnTo>
                    <a:pt x="201" y="205"/>
                  </a:lnTo>
                  <a:lnTo>
                    <a:pt x="205" y="188"/>
                  </a:lnTo>
                  <a:lnTo>
                    <a:pt x="201" y="174"/>
                  </a:lnTo>
                  <a:lnTo>
                    <a:pt x="196" y="174"/>
                  </a:lnTo>
                  <a:lnTo>
                    <a:pt x="196" y="183"/>
                  </a:lnTo>
                  <a:lnTo>
                    <a:pt x="192" y="18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2" name="Freeform 214"/>
            <p:cNvSpPr>
              <a:spLocks noEditPoints="1"/>
            </p:cNvSpPr>
            <p:nvPr/>
          </p:nvSpPr>
          <p:spPr bwMode="gray">
            <a:xfrm>
              <a:off x="2812" y="1818"/>
              <a:ext cx="125" cy="175"/>
            </a:xfrm>
            <a:custGeom>
              <a:avLst/>
              <a:gdLst>
                <a:gd name="T0" fmla="*/ 9 w 125"/>
                <a:gd name="T1" fmla="*/ 108 h 175"/>
                <a:gd name="T2" fmla="*/ 0 w 125"/>
                <a:gd name="T3" fmla="*/ 94 h 175"/>
                <a:gd name="T4" fmla="*/ 0 w 125"/>
                <a:gd name="T5" fmla="*/ 81 h 175"/>
                <a:gd name="T6" fmla="*/ 9 w 125"/>
                <a:gd name="T7" fmla="*/ 72 h 175"/>
                <a:gd name="T8" fmla="*/ 14 w 125"/>
                <a:gd name="T9" fmla="*/ 54 h 175"/>
                <a:gd name="T10" fmla="*/ 18 w 125"/>
                <a:gd name="T11" fmla="*/ 45 h 175"/>
                <a:gd name="T12" fmla="*/ 14 w 125"/>
                <a:gd name="T13" fmla="*/ 36 h 175"/>
                <a:gd name="T14" fmla="*/ 18 w 125"/>
                <a:gd name="T15" fmla="*/ 36 h 175"/>
                <a:gd name="T16" fmla="*/ 27 w 125"/>
                <a:gd name="T17" fmla="*/ 32 h 175"/>
                <a:gd name="T18" fmla="*/ 32 w 125"/>
                <a:gd name="T19" fmla="*/ 36 h 175"/>
                <a:gd name="T20" fmla="*/ 36 w 125"/>
                <a:gd name="T21" fmla="*/ 32 h 175"/>
                <a:gd name="T22" fmla="*/ 41 w 125"/>
                <a:gd name="T23" fmla="*/ 27 h 175"/>
                <a:gd name="T24" fmla="*/ 50 w 125"/>
                <a:gd name="T25" fmla="*/ 27 h 175"/>
                <a:gd name="T26" fmla="*/ 45 w 125"/>
                <a:gd name="T27" fmla="*/ 18 h 175"/>
                <a:gd name="T28" fmla="*/ 45 w 125"/>
                <a:gd name="T29" fmla="*/ 14 h 175"/>
                <a:gd name="T30" fmla="*/ 58 w 125"/>
                <a:gd name="T31" fmla="*/ 0 h 175"/>
                <a:gd name="T32" fmla="*/ 58 w 125"/>
                <a:gd name="T33" fmla="*/ 14 h 175"/>
                <a:gd name="T34" fmla="*/ 67 w 125"/>
                <a:gd name="T35" fmla="*/ 14 h 175"/>
                <a:gd name="T36" fmla="*/ 72 w 125"/>
                <a:gd name="T37" fmla="*/ 9 h 175"/>
                <a:gd name="T38" fmla="*/ 67 w 125"/>
                <a:gd name="T39" fmla="*/ 18 h 175"/>
                <a:gd name="T40" fmla="*/ 63 w 125"/>
                <a:gd name="T41" fmla="*/ 23 h 175"/>
                <a:gd name="T42" fmla="*/ 72 w 125"/>
                <a:gd name="T43" fmla="*/ 27 h 175"/>
                <a:gd name="T44" fmla="*/ 76 w 125"/>
                <a:gd name="T45" fmla="*/ 23 h 175"/>
                <a:gd name="T46" fmla="*/ 90 w 125"/>
                <a:gd name="T47" fmla="*/ 14 h 175"/>
                <a:gd name="T48" fmla="*/ 94 w 125"/>
                <a:gd name="T49" fmla="*/ 18 h 175"/>
                <a:gd name="T50" fmla="*/ 108 w 125"/>
                <a:gd name="T51" fmla="*/ 23 h 175"/>
                <a:gd name="T52" fmla="*/ 112 w 125"/>
                <a:gd name="T53" fmla="*/ 27 h 175"/>
                <a:gd name="T54" fmla="*/ 112 w 125"/>
                <a:gd name="T55" fmla="*/ 50 h 175"/>
                <a:gd name="T56" fmla="*/ 121 w 125"/>
                <a:gd name="T57" fmla="*/ 72 h 175"/>
                <a:gd name="T58" fmla="*/ 125 w 125"/>
                <a:gd name="T59" fmla="*/ 90 h 175"/>
                <a:gd name="T60" fmla="*/ 121 w 125"/>
                <a:gd name="T61" fmla="*/ 99 h 175"/>
                <a:gd name="T62" fmla="*/ 103 w 125"/>
                <a:gd name="T63" fmla="*/ 108 h 175"/>
                <a:gd name="T64" fmla="*/ 90 w 125"/>
                <a:gd name="T65" fmla="*/ 117 h 175"/>
                <a:gd name="T66" fmla="*/ 90 w 125"/>
                <a:gd name="T67" fmla="*/ 126 h 175"/>
                <a:gd name="T68" fmla="*/ 103 w 125"/>
                <a:gd name="T69" fmla="*/ 135 h 175"/>
                <a:gd name="T70" fmla="*/ 112 w 125"/>
                <a:gd name="T71" fmla="*/ 148 h 175"/>
                <a:gd name="T72" fmla="*/ 99 w 125"/>
                <a:gd name="T73" fmla="*/ 157 h 175"/>
                <a:gd name="T74" fmla="*/ 103 w 125"/>
                <a:gd name="T75" fmla="*/ 166 h 175"/>
                <a:gd name="T76" fmla="*/ 94 w 125"/>
                <a:gd name="T77" fmla="*/ 170 h 175"/>
                <a:gd name="T78" fmla="*/ 54 w 125"/>
                <a:gd name="T79" fmla="*/ 170 h 175"/>
                <a:gd name="T80" fmla="*/ 36 w 125"/>
                <a:gd name="T81" fmla="*/ 170 h 175"/>
                <a:gd name="T82" fmla="*/ 27 w 125"/>
                <a:gd name="T83" fmla="*/ 170 h 175"/>
                <a:gd name="T84" fmla="*/ 32 w 125"/>
                <a:gd name="T85" fmla="*/ 143 h 175"/>
                <a:gd name="T86" fmla="*/ 23 w 125"/>
                <a:gd name="T87" fmla="*/ 135 h 175"/>
                <a:gd name="T88" fmla="*/ 9 w 125"/>
                <a:gd name="T89" fmla="*/ 130 h 175"/>
                <a:gd name="T90" fmla="*/ 5 w 125"/>
                <a:gd name="T91" fmla="*/ 121 h 175"/>
                <a:gd name="T92" fmla="*/ 103 w 125"/>
                <a:gd name="T93" fmla="*/ 9 h 175"/>
                <a:gd name="T94" fmla="*/ 108 w 125"/>
                <a:gd name="T95" fmla="*/ 18 h 175"/>
                <a:gd name="T96" fmla="*/ 103 w 125"/>
                <a:gd name="T97" fmla="*/ 9 h 17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5"/>
                <a:gd name="T148" fmla="*/ 0 h 175"/>
                <a:gd name="T149" fmla="*/ 125 w 125"/>
                <a:gd name="T150" fmla="*/ 175 h 17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5" h="175">
                  <a:moveTo>
                    <a:pt x="5" y="117"/>
                  </a:moveTo>
                  <a:lnTo>
                    <a:pt x="9" y="108"/>
                  </a:lnTo>
                  <a:lnTo>
                    <a:pt x="5" y="99"/>
                  </a:lnTo>
                  <a:lnTo>
                    <a:pt x="0" y="94"/>
                  </a:lnTo>
                  <a:lnTo>
                    <a:pt x="5" y="85"/>
                  </a:lnTo>
                  <a:lnTo>
                    <a:pt x="0" y="81"/>
                  </a:lnTo>
                  <a:lnTo>
                    <a:pt x="0" y="76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4" y="54"/>
                  </a:lnTo>
                  <a:lnTo>
                    <a:pt x="18" y="45"/>
                  </a:lnTo>
                  <a:lnTo>
                    <a:pt x="14" y="45"/>
                  </a:lnTo>
                  <a:lnTo>
                    <a:pt x="14" y="36"/>
                  </a:lnTo>
                  <a:lnTo>
                    <a:pt x="18" y="36"/>
                  </a:lnTo>
                  <a:lnTo>
                    <a:pt x="18" y="32"/>
                  </a:lnTo>
                  <a:lnTo>
                    <a:pt x="27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1" y="27"/>
                  </a:lnTo>
                  <a:lnTo>
                    <a:pt x="45" y="27"/>
                  </a:lnTo>
                  <a:lnTo>
                    <a:pt x="50" y="27"/>
                  </a:lnTo>
                  <a:lnTo>
                    <a:pt x="45" y="23"/>
                  </a:lnTo>
                  <a:lnTo>
                    <a:pt x="45" y="18"/>
                  </a:lnTo>
                  <a:lnTo>
                    <a:pt x="41" y="14"/>
                  </a:lnTo>
                  <a:lnTo>
                    <a:pt x="45" y="14"/>
                  </a:lnTo>
                  <a:lnTo>
                    <a:pt x="41" y="5"/>
                  </a:lnTo>
                  <a:lnTo>
                    <a:pt x="58" y="0"/>
                  </a:lnTo>
                  <a:lnTo>
                    <a:pt x="58" y="9"/>
                  </a:lnTo>
                  <a:lnTo>
                    <a:pt x="58" y="14"/>
                  </a:lnTo>
                  <a:lnTo>
                    <a:pt x="63" y="18"/>
                  </a:lnTo>
                  <a:lnTo>
                    <a:pt x="67" y="14"/>
                  </a:lnTo>
                  <a:lnTo>
                    <a:pt x="67" y="9"/>
                  </a:lnTo>
                  <a:lnTo>
                    <a:pt x="72" y="9"/>
                  </a:lnTo>
                  <a:lnTo>
                    <a:pt x="72" y="14"/>
                  </a:lnTo>
                  <a:lnTo>
                    <a:pt x="67" y="18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72" y="27"/>
                  </a:lnTo>
                  <a:lnTo>
                    <a:pt x="76" y="27"/>
                  </a:lnTo>
                  <a:lnTo>
                    <a:pt x="76" y="23"/>
                  </a:lnTo>
                  <a:lnTo>
                    <a:pt x="85" y="23"/>
                  </a:lnTo>
                  <a:lnTo>
                    <a:pt x="90" y="14"/>
                  </a:lnTo>
                  <a:lnTo>
                    <a:pt x="94" y="14"/>
                  </a:lnTo>
                  <a:lnTo>
                    <a:pt x="94" y="18"/>
                  </a:lnTo>
                  <a:lnTo>
                    <a:pt x="99" y="18"/>
                  </a:lnTo>
                  <a:lnTo>
                    <a:pt x="108" y="23"/>
                  </a:lnTo>
                  <a:lnTo>
                    <a:pt x="108" y="27"/>
                  </a:lnTo>
                  <a:lnTo>
                    <a:pt x="112" y="27"/>
                  </a:lnTo>
                  <a:lnTo>
                    <a:pt x="112" y="36"/>
                  </a:lnTo>
                  <a:lnTo>
                    <a:pt x="112" y="50"/>
                  </a:lnTo>
                  <a:lnTo>
                    <a:pt x="121" y="59"/>
                  </a:lnTo>
                  <a:lnTo>
                    <a:pt x="121" y="72"/>
                  </a:lnTo>
                  <a:lnTo>
                    <a:pt x="121" y="85"/>
                  </a:lnTo>
                  <a:lnTo>
                    <a:pt x="125" y="90"/>
                  </a:lnTo>
                  <a:lnTo>
                    <a:pt x="125" y="99"/>
                  </a:lnTo>
                  <a:lnTo>
                    <a:pt x="121" y="99"/>
                  </a:lnTo>
                  <a:lnTo>
                    <a:pt x="117" y="108"/>
                  </a:lnTo>
                  <a:lnTo>
                    <a:pt x="103" y="108"/>
                  </a:lnTo>
                  <a:lnTo>
                    <a:pt x="94" y="117"/>
                  </a:lnTo>
                  <a:lnTo>
                    <a:pt x="90" y="117"/>
                  </a:lnTo>
                  <a:lnTo>
                    <a:pt x="85" y="117"/>
                  </a:lnTo>
                  <a:lnTo>
                    <a:pt x="90" y="126"/>
                  </a:lnTo>
                  <a:lnTo>
                    <a:pt x="94" y="135"/>
                  </a:lnTo>
                  <a:lnTo>
                    <a:pt x="103" y="135"/>
                  </a:lnTo>
                  <a:lnTo>
                    <a:pt x="112" y="143"/>
                  </a:lnTo>
                  <a:lnTo>
                    <a:pt x="112" y="148"/>
                  </a:lnTo>
                  <a:lnTo>
                    <a:pt x="108" y="152"/>
                  </a:lnTo>
                  <a:lnTo>
                    <a:pt x="99" y="157"/>
                  </a:lnTo>
                  <a:lnTo>
                    <a:pt x="94" y="161"/>
                  </a:lnTo>
                  <a:lnTo>
                    <a:pt x="103" y="166"/>
                  </a:lnTo>
                  <a:lnTo>
                    <a:pt x="99" y="175"/>
                  </a:lnTo>
                  <a:lnTo>
                    <a:pt x="94" y="170"/>
                  </a:lnTo>
                  <a:lnTo>
                    <a:pt x="76" y="175"/>
                  </a:lnTo>
                  <a:lnTo>
                    <a:pt x="54" y="170"/>
                  </a:lnTo>
                  <a:lnTo>
                    <a:pt x="45" y="170"/>
                  </a:lnTo>
                  <a:lnTo>
                    <a:pt x="36" y="170"/>
                  </a:lnTo>
                  <a:lnTo>
                    <a:pt x="27" y="175"/>
                  </a:lnTo>
                  <a:lnTo>
                    <a:pt x="27" y="170"/>
                  </a:lnTo>
                  <a:lnTo>
                    <a:pt x="27" y="157"/>
                  </a:lnTo>
                  <a:lnTo>
                    <a:pt x="32" y="143"/>
                  </a:lnTo>
                  <a:lnTo>
                    <a:pt x="27" y="135"/>
                  </a:lnTo>
                  <a:lnTo>
                    <a:pt x="23" y="135"/>
                  </a:lnTo>
                  <a:lnTo>
                    <a:pt x="9" y="139"/>
                  </a:lnTo>
                  <a:lnTo>
                    <a:pt x="9" y="130"/>
                  </a:lnTo>
                  <a:lnTo>
                    <a:pt x="9" y="126"/>
                  </a:lnTo>
                  <a:lnTo>
                    <a:pt x="5" y="121"/>
                  </a:lnTo>
                  <a:lnTo>
                    <a:pt x="5" y="117"/>
                  </a:lnTo>
                  <a:close/>
                  <a:moveTo>
                    <a:pt x="103" y="9"/>
                  </a:moveTo>
                  <a:lnTo>
                    <a:pt x="99" y="18"/>
                  </a:lnTo>
                  <a:lnTo>
                    <a:pt x="108" y="18"/>
                  </a:lnTo>
                  <a:lnTo>
                    <a:pt x="108" y="14"/>
                  </a:lnTo>
                  <a:lnTo>
                    <a:pt x="103" y="9"/>
                  </a:ln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3" name="Freeform 215"/>
            <p:cNvSpPr>
              <a:spLocks noEditPoints="1"/>
            </p:cNvSpPr>
            <p:nvPr/>
          </p:nvSpPr>
          <p:spPr bwMode="gray">
            <a:xfrm>
              <a:off x="3013" y="2113"/>
              <a:ext cx="117" cy="126"/>
            </a:xfrm>
            <a:custGeom>
              <a:avLst/>
              <a:gdLst>
                <a:gd name="T0" fmla="*/ 9 w 117"/>
                <a:gd name="T1" fmla="*/ 45 h 126"/>
                <a:gd name="T2" fmla="*/ 14 w 117"/>
                <a:gd name="T3" fmla="*/ 63 h 126"/>
                <a:gd name="T4" fmla="*/ 41 w 117"/>
                <a:gd name="T5" fmla="*/ 63 h 126"/>
                <a:gd name="T6" fmla="*/ 41 w 117"/>
                <a:gd name="T7" fmla="*/ 72 h 126"/>
                <a:gd name="T8" fmla="*/ 14 w 117"/>
                <a:gd name="T9" fmla="*/ 67 h 126"/>
                <a:gd name="T10" fmla="*/ 23 w 117"/>
                <a:gd name="T11" fmla="*/ 94 h 126"/>
                <a:gd name="T12" fmla="*/ 36 w 117"/>
                <a:gd name="T13" fmla="*/ 94 h 126"/>
                <a:gd name="T14" fmla="*/ 41 w 117"/>
                <a:gd name="T15" fmla="*/ 99 h 126"/>
                <a:gd name="T16" fmla="*/ 41 w 117"/>
                <a:gd name="T17" fmla="*/ 81 h 126"/>
                <a:gd name="T18" fmla="*/ 50 w 117"/>
                <a:gd name="T19" fmla="*/ 81 h 126"/>
                <a:gd name="T20" fmla="*/ 54 w 117"/>
                <a:gd name="T21" fmla="*/ 76 h 126"/>
                <a:gd name="T22" fmla="*/ 45 w 117"/>
                <a:gd name="T23" fmla="*/ 59 h 126"/>
                <a:gd name="T24" fmla="*/ 36 w 117"/>
                <a:gd name="T25" fmla="*/ 50 h 126"/>
                <a:gd name="T26" fmla="*/ 36 w 117"/>
                <a:gd name="T27" fmla="*/ 27 h 126"/>
                <a:gd name="T28" fmla="*/ 45 w 117"/>
                <a:gd name="T29" fmla="*/ 32 h 126"/>
                <a:gd name="T30" fmla="*/ 58 w 117"/>
                <a:gd name="T31" fmla="*/ 27 h 126"/>
                <a:gd name="T32" fmla="*/ 72 w 117"/>
                <a:gd name="T33" fmla="*/ 9 h 126"/>
                <a:gd name="T34" fmla="*/ 72 w 117"/>
                <a:gd name="T35" fmla="*/ 5 h 126"/>
                <a:gd name="T36" fmla="*/ 45 w 117"/>
                <a:gd name="T37" fmla="*/ 5 h 126"/>
                <a:gd name="T38" fmla="*/ 27 w 117"/>
                <a:gd name="T39" fmla="*/ 14 h 126"/>
                <a:gd name="T40" fmla="*/ 5 w 117"/>
                <a:gd name="T41" fmla="*/ 41 h 126"/>
                <a:gd name="T42" fmla="*/ 54 w 117"/>
                <a:gd name="T43" fmla="*/ 59 h 126"/>
                <a:gd name="T44" fmla="*/ 67 w 117"/>
                <a:gd name="T45" fmla="*/ 72 h 126"/>
                <a:gd name="T46" fmla="*/ 58 w 117"/>
                <a:gd name="T47" fmla="*/ 54 h 126"/>
                <a:gd name="T48" fmla="*/ 41 w 117"/>
                <a:gd name="T49" fmla="*/ 50 h 126"/>
                <a:gd name="T50" fmla="*/ 50 w 117"/>
                <a:gd name="T51" fmla="*/ 112 h 126"/>
                <a:gd name="T52" fmla="*/ 63 w 117"/>
                <a:gd name="T53" fmla="*/ 126 h 126"/>
                <a:gd name="T54" fmla="*/ 81 w 117"/>
                <a:gd name="T55" fmla="*/ 117 h 126"/>
                <a:gd name="T56" fmla="*/ 63 w 117"/>
                <a:gd name="T57" fmla="*/ 112 h 126"/>
                <a:gd name="T58" fmla="*/ 58 w 117"/>
                <a:gd name="T59" fmla="*/ 90 h 126"/>
                <a:gd name="T60" fmla="*/ 58 w 117"/>
                <a:gd name="T61" fmla="*/ 90 h 126"/>
                <a:gd name="T62" fmla="*/ 72 w 117"/>
                <a:gd name="T63" fmla="*/ 85 h 126"/>
                <a:gd name="T64" fmla="*/ 76 w 117"/>
                <a:gd name="T65" fmla="*/ 81 h 126"/>
                <a:gd name="T66" fmla="*/ 81 w 117"/>
                <a:gd name="T67" fmla="*/ 90 h 126"/>
                <a:gd name="T68" fmla="*/ 81 w 117"/>
                <a:gd name="T69" fmla="*/ 90 h 126"/>
                <a:gd name="T70" fmla="*/ 85 w 117"/>
                <a:gd name="T71" fmla="*/ 45 h 126"/>
                <a:gd name="T72" fmla="*/ 90 w 117"/>
                <a:gd name="T73" fmla="*/ 45 h 126"/>
                <a:gd name="T74" fmla="*/ 81 w 117"/>
                <a:gd name="T75" fmla="*/ 76 h 126"/>
                <a:gd name="T76" fmla="*/ 81 w 117"/>
                <a:gd name="T77" fmla="*/ 76 h 126"/>
                <a:gd name="T78" fmla="*/ 85 w 117"/>
                <a:gd name="T79" fmla="*/ 63 h 126"/>
                <a:gd name="T80" fmla="*/ 112 w 117"/>
                <a:gd name="T81" fmla="*/ 99 h 126"/>
                <a:gd name="T82" fmla="*/ 112 w 117"/>
                <a:gd name="T83" fmla="*/ 108 h 126"/>
                <a:gd name="T84" fmla="*/ 112 w 117"/>
                <a:gd name="T85" fmla="*/ 99 h 12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7"/>
                <a:gd name="T130" fmla="*/ 0 h 126"/>
                <a:gd name="T131" fmla="*/ 117 w 117"/>
                <a:gd name="T132" fmla="*/ 126 h 12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7" h="126">
                  <a:moveTo>
                    <a:pt x="0" y="41"/>
                  </a:moveTo>
                  <a:lnTo>
                    <a:pt x="5" y="45"/>
                  </a:lnTo>
                  <a:lnTo>
                    <a:pt x="9" y="45"/>
                  </a:lnTo>
                  <a:lnTo>
                    <a:pt x="14" y="50"/>
                  </a:lnTo>
                  <a:lnTo>
                    <a:pt x="9" y="50"/>
                  </a:lnTo>
                  <a:lnTo>
                    <a:pt x="14" y="63"/>
                  </a:lnTo>
                  <a:lnTo>
                    <a:pt x="18" y="59"/>
                  </a:lnTo>
                  <a:lnTo>
                    <a:pt x="36" y="59"/>
                  </a:lnTo>
                  <a:lnTo>
                    <a:pt x="41" y="63"/>
                  </a:lnTo>
                  <a:lnTo>
                    <a:pt x="41" y="67"/>
                  </a:lnTo>
                  <a:lnTo>
                    <a:pt x="45" y="72"/>
                  </a:lnTo>
                  <a:lnTo>
                    <a:pt x="41" y="72"/>
                  </a:lnTo>
                  <a:lnTo>
                    <a:pt x="27" y="63"/>
                  </a:lnTo>
                  <a:lnTo>
                    <a:pt x="23" y="63"/>
                  </a:lnTo>
                  <a:lnTo>
                    <a:pt x="14" y="67"/>
                  </a:lnTo>
                  <a:lnTo>
                    <a:pt x="18" y="76"/>
                  </a:lnTo>
                  <a:lnTo>
                    <a:pt x="23" y="85"/>
                  </a:lnTo>
                  <a:lnTo>
                    <a:pt x="23" y="94"/>
                  </a:lnTo>
                  <a:lnTo>
                    <a:pt x="27" y="85"/>
                  </a:lnTo>
                  <a:lnTo>
                    <a:pt x="32" y="99"/>
                  </a:lnTo>
                  <a:lnTo>
                    <a:pt x="36" y="94"/>
                  </a:lnTo>
                  <a:lnTo>
                    <a:pt x="36" y="90"/>
                  </a:lnTo>
                  <a:lnTo>
                    <a:pt x="41" y="94"/>
                  </a:lnTo>
                  <a:lnTo>
                    <a:pt x="41" y="99"/>
                  </a:lnTo>
                  <a:lnTo>
                    <a:pt x="45" y="94"/>
                  </a:lnTo>
                  <a:lnTo>
                    <a:pt x="45" y="90"/>
                  </a:lnTo>
                  <a:lnTo>
                    <a:pt x="41" y="81"/>
                  </a:lnTo>
                  <a:lnTo>
                    <a:pt x="41" y="76"/>
                  </a:lnTo>
                  <a:lnTo>
                    <a:pt x="45" y="81"/>
                  </a:lnTo>
                  <a:lnTo>
                    <a:pt x="50" y="81"/>
                  </a:lnTo>
                  <a:lnTo>
                    <a:pt x="45" y="76"/>
                  </a:lnTo>
                  <a:lnTo>
                    <a:pt x="50" y="72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59"/>
                  </a:lnTo>
                  <a:lnTo>
                    <a:pt x="41" y="54"/>
                  </a:lnTo>
                  <a:lnTo>
                    <a:pt x="32" y="50"/>
                  </a:lnTo>
                  <a:lnTo>
                    <a:pt x="36" y="50"/>
                  </a:lnTo>
                  <a:lnTo>
                    <a:pt x="41" y="45"/>
                  </a:lnTo>
                  <a:lnTo>
                    <a:pt x="45" y="45"/>
                  </a:lnTo>
                  <a:lnTo>
                    <a:pt x="36" y="27"/>
                  </a:lnTo>
                  <a:lnTo>
                    <a:pt x="36" y="18"/>
                  </a:lnTo>
                  <a:lnTo>
                    <a:pt x="41" y="27"/>
                  </a:lnTo>
                  <a:lnTo>
                    <a:pt x="45" y="32"/>
                  </a:lnTo>
                  <a:lnTo>
                    <a:pt x="54" y="32"/>
                  </a:lnTo>
                  <a:lnTo>
                    <a:pt x="54" y="23"/>
                  </a:lnTo>
                  <a:lnTo>
                    <a:pt x="58" y="27"/>
                  </a:lnTo>
                  <a:lnTo>
                    <a:pt x="50" y="18"/>
                  </a:lnTo>
                  <a:lnTo>
                    <a:pt x="58" y="9"/>
                  </a:lnTo>
                  <a:lnTo>
                    <a:pt x="72" y="9"/>
                  </a:lnTo>
                  <a:lnTo>
                    <a:pt x="85" y="9"/>
                  </a:lnTo>
                  <a:lnTo>
                    <a:pt x="85" y="5"/>
                  </a:lnTo>
                  <a:lnTo>
                    <a:pt x="72" y="5"/>
                  </a:lnTo>
                  <a:lnTo>
                    <a:pt x="63" y="0"/>
                  </a:lnTo>
                  <a:lnTo>
                    <a:pt x="54" y="5"/>
                  </a:lnTo>
                  <a:lnTo>
                    <a:pt x="45" y="5"/>
                  </a:lnTo>
                  <a:lnTo>
                    <a:pt x="36" y="9"/>
                  </a:lnTo>
                  <a:lnTo>
                    <a:pt x="32" y="9"/>
                  </a:lnTo>
                  <a:lnTo>
                    <a:pt x="27" y="14"/>
                  </a:lnTo>
                  <a:lnTo>
                    <a:pt x="18" y="18"/>
                  </a:lnTo>
                  <a:lnTo>
                    <a:pt x="5" y="32"/>
                  </a:lnTo>
                  <a:lnTo>
                    <a:pt x="5" y="41"/>
                  </a:lnTo>
                  <a:lnTo>
                    <a:pt x="0" y="41"/>
                  </a:lnTo>
                  <a:close/>
                  <a:moveTo>
                    <a:pt x="41" y="50"/>
                  </a:moveTo>
                  <a:lnTo>
                    <a:pt x="54" y="59"/>
                  </a:lnTo>
                  <a:lnTo>
                    <a:pt x="58" y="67"/>
                  </a:lnTo>
                  <a:lnTo>
                    <a:pt x="67" y="72"/>
                  </a:lnTo>
                  <a:lnTo>
                    <a:pt x="58" y="63"/>
                  </a:lnTo>
                  <a:lnTo>
                    <a:pt x="58" y="59"/>
                  </a:lnTo>
                  <a:lnTo>
                    <a:pt x="58" y="54"/>
                  </a:lnTo>
                  <a:lnTo>
                    <a:pt x="50" y="54"/>
                  </a:lnTo>
                  <a:lnTo>
                    <a:pt x="45" y="50"/>
                  </a:lnTo>
                  <a:lnTo>
                    <a:pt x="41" y="50"/>
                  </a:lnTo>
                  <a:close/>
                  <a:moveTo>
                    <a:pt x="58" y="108"/>
                  </a:moveTo>
                  <a:lnTo>
                    <a:pt x="54" y="108"/>
                  </a:lnTo>
                  <a:lnTo>
                    <a:pt x="50" y="112"/>
                  </a:lnTo>
                  <a:lnTo>
                    <a:pt x="50" y="117"/>
                  </a:lnTo>
                  <a:lnTo>
                    <a:pt x="63" y="117"/>
                  </a:lnTo>
                  <a:lnTo>
                    <a:pt x="63" y="126"/>
                  </a:lnTo>
                  <a:lnTo>
                    <a:pt x="90" y="121"/>
                  </a:lnTo>
                  <a:lnTo>
                    <a:pt x="90" y="112"/>
                  </a:lnTo>
                  <a:lnTo>
                    <a:pt x="81" y="117"/>
                  </a:lnTo>
                  <a:lnTo>
                    <a:pt x="81" y="112"/>
                  </a:lnTo>
                  <a:lnTo>
                    <a:pt x="67" y="112"/>
                  </a:lnTo>
                  <a:lnTo>
                    <a:pt x="63" y="112"/>
                  </a:lnTo>
                  <a:lnTo>
                    <a:pt x="58" y="108"/>
                  </a:lnTo>
                  <a:close/>
                  <a:moveTo>
                    <a:pt x="58" y="90"/>
                  </a:moveTo>
                  <a:lnTo>
                    <a:pt x="58" y="90"/>
                  </a:lnTo>
                  <a:lnTo>
                    <a:pt x="58" y="94"/>
                  </a:lnTo>
                  <a:lnTo>
                    <a:pt x="63" y="90"/>
                  </a:lnTo>
                  <a:lnTo>
                    <a:pt x="58" y="90"/>
                  </a:lnTo>
                  <a:close/>
                  <a:moveTo>
                    <a:pt x="72" y="81"/>
                  </a:moveTo>
                  <a:lnTo>
                    <a:pt x="72" y="85"/>
                  </a:lnTo>
                  <a:lnTo>
                    <a:pt x="76" y="85"/>
                  </a:lnTo>
                  <a:lnTo>
                    <a:pt x="76" y="81"/>
                  </a:lnTo>
                  <a:lnTo>
                    <a:pt x="72" y="85"/>
                  </a:lnTo>
                  <a:lnTo>
                    <a:pt x="72" y="81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5" y="85"/>
                  </a:lnTo>
                  <a:lnTo>
                    <a:pt x="81" y="90"/>
                  </a:lnTo>
                  <a:close/>
                  <a:moveTo>
                    <a:pt x="81" y="41"/>
                  </a:moveTo>
                  <a:lnTo>
                    <a:pt x="81" y="41"/>
                  </a:lnTo>
                  <a:lnTo>
                    <a:pt x="85" y="45"/>
                  </a:lnTo>
                  <a:lnTo>
                    <a:pt x="90" y="45"/>
                  </a:lnTo>
                  <a:lnTo>
                    <a:pt x="90" y="50"/>
                  </a:lnTo>
                  <a:lnTo>
                    <a:pt x="90" y="45"/>
                  </a:lnTo>
                  <a:lnTo>
                    <a:pt x="90" y="41"/>
                  </a:lnTo>
                  <a:lnTo>
                    <a:pt x="81" y="41"/>
                  </a:lnTo>
                  <a:close/>
                  <a:moveTo>
                    <a:pt x="81" y="76"/>
                  </a:moveTo>
                  <a:lnTo>
                    <a:pt x="85" y="76"/>
                  </a:lnTo>
                  <a:lnTo>
                    <a:pt x="90" y="76"/>
                  </a:lnTo>
                  <a:lnTo>
                    <a:pt x="81" y="76"/>
                  </a:lnTo>
                  <a:close/>
                  <a:moveTo>
                    <a:pt x="85" y="54"/>
                  </a:moveTo>
                  <a:lnTo>
                    <a:pt x="81" y="59"/>
                  </a:lnTo>
                  <a:lnTo>
                    <a:pt x="85" y="63"/>
                  </a:lnTo>
                  <a:lnTo>
                    <a:pt x="85" y="59"/>
                  </a:lnTo>
                  <a:lnTo>
                    <a:pt x="85" y="54"/>
                  </a:lnTo>
                  <a:close/>
                  <a:moveTo>
                    <a:pt x="112" y="99"/>
                  </a:moveTo>
                  <a:lnTo>
                    <a:pt x="108" y="103"/>
                  </a:lnTo>
                  <a:lnTo>
                    <a:pt x="108" y="112"/>
                  </a:lnTo>
                  <a:lnTo>
                    <a:pt x="112" y="108"/>
                  </a:lnTo>
                  <a:lnTo>
                    <a:pt x="117" y="108"/>
                  </a:lnTo>
                  <a:lnTo>
                    <a:pt x="117" y="99"/>
                  </a:lnTo>
                  <a:lnTo>
                    <a:pt x="112" y="9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4" name="Freeform 216"/>
            <p:cNvSpPr>
              <a:spLocks/>
            </p:cNvSpPr>
            <p:nvPr/>
          </p:nvSpPr>
          <p:spPr bwMode="gray">
            <a:xfrm>
              <a:off x="2955" y="1966"/>
              <a:ext cx="99" cy="63"/>
            </a:xfrm>
            <a:custGeom>
              <a:avLst/>
              <a:gdLst>
                <a:gd name="T0" fmla="*/ 0 w 99"/>
                <a:gd name="T1" fmla="*/ 40 h 63"/>
                <a:gd name="T2" fmla="*/ 5 w 99"/>
                <a:gd name="T3" fmla="*/ 36 h 63"/>
                <a:gd name="T4" fmla="*/ 5 w 99"/>
                <a:gd name="T5" fmla="*/ 31 h 63"/>
                <a:gd name="T6" fmla="*/ 5 w 99"/>
                <a:gd name="T7" fmla="*/ 27 h 63"/>
                <a:gd name="T8" fmla="*/ 5 w 99"/>
                <a:gd name="T9" fmla="*/ 22 h 63"/>
                <a:gd name="T10" fmla="*/ 14 w 99"/>
                <a:gd name="T11" fmla="*/ 22 h 63"/>
                <a:gd name="T12" fmla="*/ 18 w 99"/>
                <a:gd name="T13" fmla="*/ 13 h 63"/>
                <a:gd name="T14" fmla="*/ 18 w 99"/>
                <a:gd name="T15" fmla="*/ 9 h 63"/>
                <a:gd name="T16" fmla="*/ 23 w 99"/>
                <a:gd name="T17" fmla="*/ 13 h 63"/>
                <a:gd name="T18" fmla="*/ 41 w 99"/>
                <a:gd name="T19" fmla="*/ 13 h 63"/>
                <a:gd name="T20" fmla="*/ 45 w 99"/>
                <a:gd name="T21" fmla="*/ 9 h 63"/>
                <a:gd name="T22" fmla="*/ 54 w 99"/>
                <a:gd name="T23" fmla="*/ 9 h 63"/>
                <a:gd name="T24" fmla="*/ 63 w 99"/>
                <a:gd name="T25" fmla="*/ 0 h 63"/>
                <a:gd name="T26" fmla="*/ 72 w 99"/>
                <a:gd name="T27" fmla="*/ 4 h 63"/>
                <a:gd name="T28" fmla="*/ 76 w 99"/>
                <a:gd name="T29" fmla="*/ 0 h 63"/>
                <a:gd name="T30" fmla="*/ 81 w 99"/>
                <a:gd name="T31" fmla="*/ 4 h 63"/>
                <a:gd name="T32" fmla="*/ 90 w 99"/>
                <a:gd name="T33" fmla="*/ 4 h 63"/>
                <a:gd name="T34" fmla="*/ 99 w 99"/>
                <a:gd name="T35" fmla="*/ 18 h 63"/>
                <a:gd name="T36" fmla="*/ 99 w 99"/>
                <a:gd name="T37" fmla="*/ 22 h 63"/>
                <a:gd name="T38" fmla="*/ 85 w 99"/>
                <a:gd name="T39" fmla="*/ 27 h 63"/>
                <a:gd name="T40" fmla="*/ 76 w 99"/>
                <a:gd name="T41" fmla="*/ 45 h 63"/>
                <a:gd name="T42" fmla="*/ 76 w 99"/>
                <a:gd name="T43" fmla="*/ 49 h 63"/>
                <a:gd name="T44" fmla="*/ 67 w 99"/>
                <a:gd name="T45" fmla="*/ 54 h 63"/>
                <a:gd name="T46" fmla="*/ 63 w 99"/>
                <a:gd name="T47" fmla="*/ 54 h 63"/>
                <a:gd name="T48" fmla="*/ 49 w 99"/>
                <a:gd name="T49" fmla="*/ 54 h 63"/>
                <a:gd name="T50" fmla="*/ 36 w 99"/>
                <a:gd name="T51" fmla="*/ 58 h 63"/>
                <a:gd name="T52" fmla="*/ 27 w 99"/>
                <a:gd name="T53" fmla="*/ 63 h 63"/>
                <a:gd name="T54" fmla="*/ 9 w 99"/>
                <a:gd name="T55" fmla="*/ 58 h 63"/>
                <a:gd name="T56" fmla="*/ 5 w 99"/>
                <a:gd name="T57" fmla="*/ 49 h 63"/>
                <a:gd name="T58" fmla="*/ 5 w 99"/>
                <a:gd name="T59" fmla="*/ 49 h 63"/>
                <a:gd name="T60" fmla="*/ 0 w 99"/>
                <a:gd name="T61" fmla="*/ 40 h 6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9"/>
                <a:gd name="T94" fmla="*/ 0 h 63"/>
                <a:gd name="T95" fmla="*/ 99 w 99"/>
                <a:gd name="T96" fmla="*/ 63 h 6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9" h="63">
                  <a:moveTo>
                    <a:pt x="0" y="40"/>
                  </a:moveTo>
                  <a:lnTo>
                    <a:pt x="5" y="36"/>
                  </a:lnTo>
                  <a:lnTo>
                    <a:pt x="5" y="31"/>
                  </a:lnTo>
                  <a:lnTo>
                    <a:pt x="5" y="27"/>
                  </a:lnTo>
                  <a:lnTo>
                    <a:pt x="5" y="22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23" y="13"/>
                  </a:lnTo>
                  <a:lnTo>
                    <a:pt x="41" y="13"/>
                  </a:lnTo>
                  <a:lnTo>
                    <a:pt x="45" y="9"/>
                  </a:lnTo>
                  <a:lnTo>
                    <a:pt x="54" y="9"/>
                  </a:lnTo>
                  <a:lnTo>
                    <a:pt x="63" y="0"/>
                  </a:lnTo>
                  <a:lnTo>
                    <a:pt x="72" y="4"/>
                  </a:lnTo>
                  <a:lnTo>
                    <a:pt x="76" y="0"/>
                  </a:lnTo>
                  <a:lnTo>
                    <a:pt x="81" y="4"/>
                  </a:lnTo>
                  <a:lnTo>
                    <a:pt x="90" y="4"/>
                  </a:lnTo>
                  <a:lnTo>
                    <a:pt x="99" y="18"/>
                  </a:lnTo>
                  <a:lnTo>
                    <a:pt x="99" y="22"/>
                  </a:lnTo>
                  <a:lnTo>
                    <a:pt x="85" y="27"/>
                  </a:lnTo>
                  <a:lnTo>
                    <a:pt x="76" y="45"/>
                  </a:lnTo>
                  <a:lnTo>
                    <a:pt x="76" y="49"/>
                  </a:lnTo>
                  <a:lnTo>
                    <a:pt x="67" y="54"/>
                  </a:lnTo>
                  <a:lnTo>
                    <a:pt x="63" y="54"/>
                  </a:lnTo>
                  <a:lnTo>
                    <a:pt x="49" y="54"/>
                  </a:lnTo>
                  <a:lnTo>
                    <a:pt x="36" y="58"/>
                  </a:lnTo>
                  <a:lnTo>
                    <a:pt x="27" y="63"/>
                  </a:lnTo>
                  <a:lnTo>
                    <a:pt x="9" y="58"/>
                  </a:lnTo>
                  <a:lnTo>
                    <a:pt x="5" y="49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5" name="Freeform 217"/>
            <p:cNvSpPr>
              <a:spLocks/>
            </p:cNvSpPr>
            <p:nvPr/>
          </p:nvSpPr>
          <p:spPr bwMode="gray">
            <a:xfrm>
              <a:off x="2379" y="1470"/>
              <a:ext cx="156" cy="103"/>
            </a:xfrm>
            <a:custGeom>
              <a:avLst/>
              <a:gdLst>
                <a:gd name="T0" fmla="*/ 45 w 156"/>
                <a:gd name="T1" fmla="*/ 85 h 103"/>
                <a:gd name="T2" fmla="*/ 81 w 156"/>
                <a:gd name="T3" fmla="*/ 103 h 103"/>
                <a:gd name="T4" fmla="*/ 98 w 156"/>
                <a:gd name="T5" fmla="*/ 89 h 103"/>
                <a:gd name="T6" fmla="*/ 121 w 156"/>
                <a:gd name="T7" fmla="*/ 76 h 103"/>
                <a:gd name="T8" fmla="*/ 134 w 156"/>
                <a:gd name="T9" fmla="*/ 71 h 103"/>
                <a:gd name="T10" fmla="*/ 148 w 156"/>
                <a:gd name="T11" fmla="*/ 62 h 103"/>
                <a:gd name="T12" fmla="*/ 152 w 156"/>
                <a:gd name="T13" fmla="*/ 54 h 103"/>
                <a:gd name="T14" fmla="*/ 152 w 156"/>
                <a:gd name="T15" fmla="*/ 45 h 103"/>
                <a:gd name="T16" fmla="*/ 148 w 156"/>
                <a:gd name="T17" fmla="*/ 31 h 103"/>
                <a:gd name="T18" fmla="*/ 143 w 156"/>
                <a:gd name="T19" fmla="*/ 27 h 103"/>
                <a:gd name="T20" fmla="*/ 143 w 156"/>
                <a:gd name="T21" fmla="*/ 18 h 103"/>
                <a:gd name="T22" fmla="*/ 134 w 156"/>
                <a:gd name="T23" fmla="*/ 13 h 103"/>
                <a:gd name="T24" fmla="*/ 139 w 156"/>
                <a:gd name="T25" fmla="*/ 0 h 103"/>
                <a:gd name="T26" fmla="*/ 125 w 156"/>
                <a:gd name="T27" fmla="*/ 9 h 103"/>
                <a:gd name="T28" fmla="*/ 107 w 156"/>
                <a:gd name="T29" fmla="*/ 0 h 103"/>
                <a:gd name="T30" fmla="*/ 107 w 156"/>
                <a:gd name="T31" fmla="*/ 13 h 103"/>
                <a:gd name="T32" fmla="*/ 98 w 156"/>
                <a:gd name="T33" fmla="*/ 18 h 103"/>
                <a:gd name="T34" fmla="*/ 85 w 156"/>
                <a:gd name="T35" fmla="*/ 13 h 103"/>
                <a:gd name="T36" fmla="*/ 76 w 156"/>
                <a:gd name="T37" fmla="*/ 13 h 103"/>
                <a:gd name="T38" fmla="*/ 72 w 156"/>
                <a:gd name="T39" fmla="*/ 27 h 103"/>
                <a:gd name="T40" fmla="*/ 58 w 156"/>
                <a:gd name="T41" fmla="*/ 13 h 103"/>
                <a:gd name="T42" fmla="*/ 54 w 156"/>
                <a:gd name="T43" fmla="*/ 31 h 103"/>
                <a:gd name="T44" fmla="*/ 40 w 156"/>
                <a:gd name="T45" fmla="*/ 27 h 103"/>
                <a:gd name="T46" fmla="*/ 45 w 156"/>
                <a:gd name="T47" fmla="*/ 13 h 103"/>
                <a:gd name="T48" fmla="*/ 18 w 156"/>
                <a:gd name="T49" fmla="*/ 0 h 103"/>
                <a:gd name="T50" fmla="*/ 22 w 156"/>
                <a:gd name="T51" fmla="*/ 9 h 103"/>
                <a:gd name="T52" fmla="*/ 22 w 156"/>
                <a:gd name="T53" fmla="*/ 13 h 103"/>
                <a:gd name="T54" fmla="*/ 9 w 156"/>
                <a:gd name="T55" fmla="*/ 13 h 103"/>
                <a:gd name="T56" fmla="*/ 14 w 156"/>
                <a:gd name="T57" fmla="*/ 27 h 103"/>
                <a:gd name="T58" fmla="*/ 9 w 156"/>
                <a:gd name="T59" fmla="*/ 31 h 103"/>
                <a:gd name="T60" fmla="*/ 0 w 156"/>
                <a:gd name="T61" fmla="*/ 36 h 103"/>
                <a:gd name="T62" fmla="*/ 27 w 156"/>
                <a:gd name="T63" fmla="*/ 36 h 103"/>
                <a:gd name="T64" fmla="*/ 31 w 156"/>
                <a:gd name="T65" fmla="*/ 45 h 103"/>
                <a:gd name="T66" fmla="*/ 27 w 156"/>
                <a:gd name="T67" fmla="*/ 49 h 103"/>
                <a:gd name="T68" fmla="*/ 9 w 156"/>
                <a:gd name="T69" fmla="*/ 67 h 103"/>
                <a:gd name="T70" fmla="*/ 31 w 156"/>
                <a:gd name="T71" fmla="*/ 62 h 103"/>
                <a:gd name="T72" fmla="*/ 36 w 156"/>
                <a:gd name="T73" fmla="*/ 62 h 103"/>
                <a:gd name="T74" fmla="*/ 22 w 156"/>
                <a:gd name="T75" fmla="*/ 80 h 10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56"/>
                <a:gd name="T115" fmla="*/ 0 h 103"/>
                <a:gd name="T116" fmla="*/ 156 w 156"/>
                <a:gd name="T117" fmla="*/ 103 h 10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56" h="103">
                  <a:moveTo>
                    <a:pt x="27" y="89"/>
                  </a:moveTo>
                  <a:lnTo>
                    <a:pt x="45" y="85"/>
                  </a:lnTo>
                  <a:lnTo>
                    <a:pt x="63" y="98"/>
                  </a:lnTo>
                  <a:lnTo>
                    <a:pt x="81" y="103"/>
                  </a:lnTo>
                  <a:lnTo>
                    <a:pt x="94" y="98"/>
                  </a:lnTo>
                  <a:lnTo>
                    <a:pt x="98" y="89"/>
                  </a:lnTo>
                  <a:lnTo>
                    <a:pt x="112" y="89"/>
                  </a:lnTo>
                  <a:lnTo>
                    <a:pt x="121" y="76"/>
                  </a:lnTo>
                  <a:lnTo>
                    <a:pt x="130" y="71"/>
                  </a:lnTo>
                  <a:lnTo>
                    <a:pt x="134" y="71"/>
                  </a:lnTo>
                  <a:lnTo>
                    <a:pt x="143" y="67"/>
                  </a:lnTo>
                  <a:lnTo>
                    <a:pt x="148" y="62"/>
                  </a:lnTo>
                  <a:lnTo>
                    <a:pt x="152" y="54"/>
                  </a:lnTo>
                  <a:lnTo>
                    <a:pt x="156" y="49"/>
                  </a:lnTo>
                  <a:lnTo>
                    <a:pt x="152" y="45"/>
                  </a:lnTo>
                  <a:lnTo>
                    <a:pt x="152" y="36"/>
                  </a:lnTo>
                  <a:lnTo>
                    <a:pt x="148" y="31"/>
                  </a:lnTo>
                  <a:lnTo>
                    <a:pt x="143" y="36"/>
                  </a:lnTo>
                  <a:lnTo>
                    <a:pt x="143" y="27"/>
                  </a:lnTo>
                  <a:lnTo>
                    <a:pt x="139" y="27"/>
                  </a:lnTo>
                  <a:lnTo>
                    <a:pt x="143" y="18"/>
                  </a:lnTo>
                  <a:lnTo>
                    <a:pt x="139" y="22"/>
                  </a:lnTo>
                  <a:lnTo>
                    <a:pt x="134" y="13"/>
                  </a:lnTo>
                  <a:lnTo>
                    <a:pt x="143" y="4"/>
                  </a:lnTo>
                  <a:lnTo>
                    <a:pt x="139" y="0"/>
                  </a:lnTo>
                  <a:lnTo>
                    <a:pt x="130" y="13"/>
                  </a:lnTo>
                  <a:lnTo>
                    <a:pt x="125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112" y="9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8"/>
                  </a:lnTo>
                  <a:lnTo>
                    <a:pt x="89" y="9"/>
                  </a:lnTo>
                  <a:lnTo>
                    <a:pt x="85" y="13"/>
                  </a:lnTo>
                  <a:lnTo>
                    <a:pt x="89" y="27"/>
                  </a:lnTo>
                  <a:lnTo>
                    <a:pt x="76" y="13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3" y="13"/>
                  </a:lnTo>
                  <a:lnTo>
                    <a:pt x="58" y="13"/>
                  </a:lnTo>
                  <a:lnTo>
                    <a:pt x="58" y="31"/>
                  </a:lnTo>
                  <a:lnTo>
                    <a:pt x="54" y="31"/>
                  </a:lnTo>
                  <a:lnTo>
                    <a:pt x="45" y="40"/>
                  </a:lnTo>
                  <a:lnTo>
                    <a:pt x="40" y="27"/>
                  </a:lnTo>
                  <a:lnTo>
                    <a:pt x="45" y="22"/>
                  </a:lnTo>
                  <a:lnTo>
                    <a:pt x="45" y="13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22" y="9"/>
                  </a:lnTo>
                  <a:lnTo>
                    <a:pt x="27" y="18"/>
                  </a:lnTo>
                  <a:lnTo>
                    <a:pt x="22" y="13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14" y="18"/>
                  </a:lnTo>
                  <a:lnTo>
                    <a:pt x="14" y="27"/>
                  </a:lnTo>
                  <a:lnTo>
                    <a:pt x="9" y="27"/>
                  </a:lnTo>
                  <a:lnTo>
                    <a:pt x="9" y="31"/>
                  </a:lnTo>
                  <a:lnTo>
                    <a:pt x="5" y="31"/>
                  </a:lnTo>
                  <a:lnTo>
                    <a:pt x="0" y="36"/>
                  </a:lnTo>
                  <a:lnTo>
                    <a:pt x="14" y="40"/>
                  </a:lnTo>
                  <a:lnTo>
                    <a:pt x="27" y="36"/>
                  </a:lnTo>
                  <a:lnTo>
                    <a:pt x="36" y="36"/>
                  </a:lnTo>
                  <a:lnTo>
                    <a:pt x="31" y="45"/>
                  </a:lnTo>
                  <a:lnTo>
                    <a:pt x="31" y="49"/>
                  </a:lnTo>
                  <a:lnTo>
                    <a:pt x="27" y="49"/>
                  </a:lnTo>
                  <a:lnTo>
                    <a:pt x="5" y="58"/>
                  </a:lnTo>
                  <a:lnTo>
                    <a:pt x="9" y="67"/>
                  </a:lnTo>
                  <a:lnTo>
                    <a:pt x="14" y="62"/>
                  </a:lnTo>
                  <a:lnTo>
                    <a:pt x="31" y="62"/>
                  </a:lnTo>
                  <a:lnTo>
                    <a:pt x="31" y="67"/>
                  </a:lnTo>
                  <a:lnTo>
                    <a:pt x="36" y="62"/>
                  </a:lnTo>
                  <a:lnTo>
                    <a:pt x="31" y="80"/>
                  </a:lnTo>
                  <a:lnTo>
                    <a:pt x="22" y="80"/>
                  </a:lnTo>
                  <a:lnTo>
                    <a:pt x="27" y="8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6" name="Freeform 218"/>
            <p:cNvSpPr>
              <a:spLocks/>
            </p:cNvSpPr>
            <p:nvPr/>
          </p:nvSpPr>
          <p:spPr bwMode="gray">
            <a:xfrm>
              <a:off x="2580" y="1805"/>
              <a:ext cx="58" cy="98"/>
            </a:xfrm>
            <a:custGeom>
              <a:avLst/>
              <a:gdLst>
                <a:gd name="T0" fmla="*/ 45 w 58"/>
                <a:gd name="T1" fmla="*/ 5 h 98"/>
                <a:gd name="T2" fmla="*/ 45 w 58"/>
                <a:gd name="T3" fmla="*/ 0 h 98"/>
                <a:gd name="T4" fmla="*/ 40 w 58"/>
                <a:gd name="T5" fmla="*/ 0 h 98"/>
                <a:gd name="T6" fmla="*/ 40 w 58"/>
                <a:gd name="T7" fmla="*/ 0 h 98"/>
                <a:gd name="T8" fmla="*/ 36 w 58"/>
                <a:gd name="T9" fmla="*/ 9 h 98"/>
                <a:gd name="T10" fmla="*/ 36 w 58"/>
                <a:gd name="T11" fmla="*/ 0 h 98"/>
                <a:gd name="T12" fmla="*/ 27 w 58"/>
                <a:gd name="T13" fmla="*/ 5 h 98"/>
                <a:gd name="T14" fmla="*/ 27 w 58"/>
                <a:gd name="T15" fmla="*/ 13 h 98"/>
                <a:gd name="T16" fmla="*/ 22 w 58"/>
                <a:gd name="T17" fmla="*/ 18 h 98"/>
                <a:gd name="T18" fmla="*/ 27 w 58"/>
                <a:gd name="T19" fmla="*/ 22 h 98"/>
                <a:gd name="T20" fmla="*/ 27 w 58"/>
                <a:gd name="T21" fmla="*/ 22 h 98"/>
                <a:gd name="T22" fmla="*/ 22 w 58"/>
                <a:gd name="T23" fmla="*/ 27 h 98"/>
                <a:gd name="T24" fmla="*/ 22 w 58"/>
                <a:gd name="T25" fmla="*/ 27 h 98"/>
                <a:gd name="T26" fmla="*/ 18 w 58"/>
                <a:gd name="T27" fmla="*/ 27 h 98"/>
                <a:gd name="T28" fmla="*/ 5 w 58"/>
                <a:gd name="T29" fmla="*/ 27 h 98"/>
                <a:gd name="T30" fmla="*/ 0 w 58"/>
                <a:gd name="T31" fmla="*/ 36 h 98"/>
                <a:gd name="T32" fmla="*/ 9 w 58"/>
                <a:gd name="T33" fmla="*/ 36 h 98"/>
                <a:gd name="T34" fmla="*/ 5 w 58"/>
                <a:gd name="T35" fmla="*/ 45 h 98"/>
                <a:gd name="T36" fmla="*/ 0 w 58"/>
                <a:gd name="T37" fmla="*/ 45 h 98"/>
                <a:gd name="T38" fmla="*/ 0 w 58"/>
                <a:gd name="T39" fmla="*/ 54 h 98"/>
                <a:gd name="T40" fmla="*/ 9 w 58"/>
                <a:gd name="T41" fmla="*/ 58 h 98"/>
                <a:gd name="T42" fmla="*/ 14 w 58"/>
                <a:gd name="T43" fmla="*/ 54 h 98"/>
                <a:gd name="T44" fmla="*/ 18 w 58"/>
                <a:gd name="T45" fmla="*/ 54 h 98"/>
                <a:gd name="T46" fmla="*/ 14 w 58"/>
                <a:gd name="T47" fmla="*/ 63 h 98"/>
                <a:gd name="T48" fmla="*/ 14 w 58"/>
                <a:gd name="T49" fmla="*/ 63 h 98"/>
                <a:gd name="T50" fmla="*/ 9 w 58"/>
                <a:gd name="T51" fmla="*/ 72 h 98"/>
                <a:gd name="T52" fmla="*/ 18 w 58"/>
                <a:gd name="T53" fmla="*/ 67 h 98"/>
                <a:gd name="T54" fmla="*/ 18 w 58"/>
                <a:gd name="T55" fmla="*/ 72 h 98"/>
                <a:gd name="T56" fmla="*/ 9 w 58"/>
                <a:gd name="T57" fmla="*/ 76 h 98"/>
                <a:gd name="T58" fmla="*/ 9 w 58"/>
                <a:gd name="T59" fmla="*/ 81 h 98"/>
                <a:gd name="T60" fmla="*/ 0 w 58"/>
                <a:gd name="T61" fmla="*/ 81 h 98"/>
                <a:gd name="T62" fmla="*/ 0 w 58"/>
                <a:gd name="T63" fmla="*/ 89 h 98"/>
                <a:gd name="T64" fmla="*/ 9 w 58"/>
                <a:gd name="T65" fmla="*/ 89 h 98"/>
                <a:gd name="T66" fmla="*/ 0 w 58"/>
                <a:gd name="T67" fmla="*/ 94 h 98"/>
                <a:gd name="T68" fmla="*/ 9 w 58"/>
                <a:gd name="T69" fmla="*/ 98 h 98"/>
                <a:gd name="T70" fmla="*/ 27 w 58"/>
                <a:gd name="T71" fmla="*/ 89 h 98"/>
                <a:gd name="T72" fmla="*/ 40 w 58"/>
                <a:gd name="T73" fmla="*/ 85 h 98"/>
                <a:gd name="T74" fmla="*/ 49 w 58"/>
                <a:gd name="T75" fmla="*/ 85 h 98"/>
                <a:gd name="T76" fmla="*/ 54 w 58"/>
                <a:gd name="T77" fmla="*/ 81 h 98"/>
                <a:gd name="T78" fmla="*/ 58 w 58"/>
                <a:gd name="T79" fmla="*/ 72 h 98"/>
                <a:gd name="T80" fmla="*/ 58 w 58"/>
                <a:gd name="T81" fmla="*/ 54 h 98"/>
                <a:gd name="T82" fmla="*/ 58 w 58"/>
                <a:gd name="T83" fmla="*/ 49 h 98"/>
                <a:gd name="T84" fmla="*/ 58 w 58"/>
                <a:gd name="T85" fmla="*/ 49 h 98"/>
                <a:gd name="T86" fmla="*/ 54 w 58"/>
                <a:gd name="T87" fmla="*/ 31 h 98"/>
                <a:gd name="T88" fmla="*/ 49 w 58"/>
                <a:gd name="T89" fmla="*/ 31 h 98"/>
                <a:gd name="T90" fmla="*/ 40 w 58"/>
                <a:gd name="T91" fmla="*/ 27 h 98"/>
                <a:gd name="T92" fmla="*/ 40 w 58"/>
                <a:gd name="T93" fmla="*/ 36 h 98"/>
                <a:gd name="T94" fmla="*/ 27 w 58"/>
                <a:gd name="T95" fmla="*/ 31 h 98"/>
                <a:gd name="T96" fmla="*/ 27 w 58"/>
                <a:gd name="T97" fmla="*/ 27 h 98"/>
                <a:gd name="T98" fmla="*/ 31 w 58"/>
                <a:gd name="T99" fmla="*/ 18 h 98"/>
                <a:gd name="T100" fmla="*/ 36 w 58"/>
                <a:gd name="T101" fmla="*/ 18 h 98"/>
                <a:gd name="T102" fmla="*/ 40 w 58"/>
                <a:gd name="T103" fmla="*/ 13 h 98"/>
                <a:gd name="T104" fmla="*/ 45 w 58"/>
                <a:gd name="T105" fmla="*/ 5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"/>
                <a:gd name="T160" fmla="*/ 0 h 98"/>
                <a:gd name="T161" fmla="*/ 58 w 58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" h="98">
                  <a:moveTo>
                    <a:pt x="45" y="5"/>
                  </a:moveTo>
                  <a:lnTo>
                    <a:pt x="45" y="0"/>
                  </a:lnTo>
                  <a:lnTo>
                    <a:pt x="40" y="0"/>
                  </a:lnTo>
                  <a:lnTo>
                    <a:pt x="36" y="9"/>
                  </a:lnTo>
                  <a:lnTo>
                    <a:pt x="36" y="0"/>
                  </a:lnTo>
                  <a:lnTo>
                    <a:pt x="27" y="5"/>
                  </a:lnTo>
                  <a:lnTo>
                    <a:pt x="27" y="13"/>
                  </a:lnTo>
                  <a:lnTo>
                    <a:pt x="22" y="18"/>
                  </a:lnTo>
                  <a:lnTo>
                    <a:pt x="27" y="22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5" y="27"/>
                  </a:lnTo>
                  <a:lnTo>
                    <a:pt x="0" y="36"/>
                  </a:lnTo>
                  <a:lnTo>
                    <a:pt x="9" y="36"/>
                  </a:lnTo>
                  <a:lnTo>
                    <a:pt x="5" y="45"/>
                  </a:lnTo>
                  <a:lnTo>
                    <a:pt x="0" y="45"/>
                  </a:lnTo>
                  <a:lnTo>
                    <a:pt x="0" y="54"/>
                  </a:lnTo>
                  <a:lnTo>
                    <a:pt x="9" y="58"/>
                  </a:lnTo>
                  <a:lnTo>
                    <a:pt x="14" y="54"/>
                  </a:lnTo>
                  <a:lnTo>
                    <a:pt x="18" y="54"/>
                  </a:lnTo>
                  <a:lnTo>
                    <a:pt x="14" y="63"/>
                  </a:lnTo>
                  <a:lnTo>
                    <a:pt x="9" y="72"/>
                  </a:lnTo>
                  <a:lnTo>
                    <a:pt x="18" y="67"/>
                  </a:lnTo>
                  <a:lnTo>
                    <a:pt x="18" y="72"/>
                  </a:lnTo>
                  <a:lnTo>
                    <a:pt x="9" y="76"/>
                  </a:lnTo>
                  <a:lnTo>
                    <a:pt x="9" y="81"/>
                  </a:lnTo>
                  <a:lnTo>
                    <a:pt x="0" y="81"/>
                  </a:lnTo>
                  <a:lnTo>
                    <a:pt x="0" y="89"/>
                  </a:lnTo>
                  <a:lnTo>
                    <a:pt x="9" y="89"/>
                  </a:lnTo>
                  <a:lnTo>
                    <a:pt x="0" y="94"/>
                  </a:lnTo>
                  <a:lnTo>
                    <a:pt x="9" y="98"/>
                  </a:lnTo>
                  <a:lnTo>
                    <a:pt x="27" y="89"/>
                  </a:lnTo>
                  <a:lnTo>
                    <a:pt x="40" y="85"/>
                  </a:lnTo>
                  <a:lnTo>
                    <a:pt x="49" y="85"/>
                  </a:lnTo>
                  <a:lnTo>
                    <a:pt x="54" y="81"/>
                  </a:lnTo>
                  <a:lnTo>
                    <a:pt x="58" y="72"/>
                  </a:lnTo>
                  <a:lnTo>
                    <a:pt x="58" y="54"/>
                  </a:lnTo>
                  <a:lnTo>
                    <a:pt x="58" y="49"/>
                  </a:lnTo>
                  <a:lnTo>
                    <a:pt x="54" y="31"/>
                  </a:lnTo>
                  <a:lnTo>
                    <a:pt x="49" y="31"/>
                  </a:lnTo>
                  <a:lnTo>
                    <a:pt x="40" y="27"/>
                  </a:lnTo>
                  <a:lnTo>
                    <a:pt x="40" y="36"/>
                  </a:lnTo>
                  <a:lnTo>
                    <a:pt x="27" y="31"/>
                  </a:lnTo>
                  <a:lnTo>
                    <a:pt x="27" y="27"/>
                  </a:lnTo>
                  <a:lnTo>
                    <a:pt x="31" y="18"/>
                  </a:lnTo>
                  <a:lnTo>
                    <a:pt x="36" y="18"/>
                  </a:lnTo>
                  <a:lnTo>
                    <a:pt x="40" y="13"/>
                  </a:lnTo>
                  <a:lnTo>
                    <a:pt x="45" y="5"/>
                  </a:ln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7" name="Freeform 219"/>
            <p:cNvSpPr>
              <a:spLocks noEditPoints="1"/>
            </p:cNvSpPr>
            <p:nvPr/>
          </p:nvSpPr>
          <p:spPr bwMode="gray">
            <a:xfrm>
              <a:off x="2817" y="2002"/>
              <a:ext cx="174" cy="205"/>
            </a:xfrm>
            <a:custGeom>
              <a:avLst/>
              <a:gdLst>
                <a:gd name="T0" fmla="*/ 27 w 174"/>
                <a:gd name="T1" fmla="*/ 62 h 205"/>
                <a:gd name="T2" fmla="*/ 36 w 174"/>
                <a:gd name="T3" fmla="*/ 49 h 205"/>
                <a:gd name="T4" fmla="*/ 53 w 174"/>
                <a:gd name="T5" fmla="*/ 62 h 205"/>
                <a:gd name="T6" fmla="*/ 62 w 174"/>
                <a:gd name="T7" fmla="*/ 94 h 205"/>
                <a:gd name="T8" fmla="*/ 94 w 174"/>
                <a:gd name="T9" fmla="*/ 120 h 205"/>
                <a:gd name="T10" fmla="*/ 112 w 174"/>
                <a:gd name="T11" fmla="*/ 129 h 205"/>
                <a:gd name="T12" fmla="*/ 120 w 174"/>
                <a:gd name="T13" fmla="*/ 138 h 205"/>
                <a:gd name="T14" fmla="*/ 138 w 174"/>
                <a:gd name="T15" fmla="*/ 161 h 205"/>
                <a:gd name="T16" fmla="*/ 134 w 174"/>
                <a:gd name="T17" fmla="*/ 170 h 205"/>
                <a:gd name="T18" fmla="*/ 134 w 174"/>
                <a:gd name="T19" fmla="*/ 183 h 205"/>
                <a:gd name="T20" fmla="*/ 147 w 174"/>
                <a:gd name="T21" fmla="*/ 170 h 205"/>
                <a:gd name="T22" fmla="*/ 152 w 174"/>
                <a:gd name="T23" fmla="*/ 161 h 205"/>
                <a:gd name="T24" fmla="*/ 143 w 174"/>
                <a:gd name="T25" fmla="*/ 143 h 205"/>
                <a:gd name="T26" fmla="*/ 156 w 174"/>
                <a:gd name="T27" fmla="*/ 134 h 205"/>
                <a:gd name="T28" fmla="*/ 165 w 174"/>
                <a:gd name="T29" fmla="*/ 143 h 205"/>
                <a:gd name="T30" fmla="*/ 174 w 174"/>
                <a:gd name="T31" fmla="*/ 138 h 205"/>
                <a:gd name="T32" fmla="*/ 147 w 174"/>
                <a:gd name="T33" fmla="*/ 111 h 205"/>
                <a:gd name="T34" fmla="*/ 138 w 174"/>
                <a:gd name="T35" fmla="*/ 102 h 205"/>
                <a:gd name="T36" fmla="*/ 120 w 174"/>
                <a:gd name="T37" fmla="*/ 98 h 205"/>
                <a:gd name="T38" fmla="*/ 103 w 174"/>
                <a:gd name="T39" fmla="*/ 80 h 205"/>
                <a:gd name="T40" fmla="*/ 85 w 174"/>
                <a:gd name="T41" fmla="*/ 58 h 205"/>
                <a:gd name="T42" fmla="*/ 85 w 174"/>
                <a:gd name="T43" fmla="*/ 44 h 205"/>
                <a:gd name="T44" fmla="*/ 80 w 174"/>
                <a:gd name="T45" fmla="*/ 31 h 205"/>
                <a:gd name="T46" fmla="*/ 94 w 174"/>
                <a:gd name="T47" fmla="*/ 22 h 205"/>
                <a:gd name="T48" fmla="*/ 103 w 174"/>
                <a:gd name="T49" fmla="*/ 27 h 205"/>
                <a:gd name="T50" fmla="*/ 107 w 174"/>
                <a:gd name="T51" fmla="*/ 31 h 205"/>
                <a:gd name="T52" fmla="*/ 103 w 174"/>
                <a:gd name="T53" fmla="*/ 18 h 205"/>
                <a:gd name="T54" fmla="*/ 103 w 174"/>
                <a:gd name="T55" fmla="*/ 13 h 205"/>
                <a:gd name="T56" fmla="*/ 85 w 174"/>
                <a:gd name="T57" fmla="*/ 0 h 205"/>
                <a:gd name="T58" fmla="*/ 67 w 174"/>
                <a:gd name="T59" fmla="*/ 4 h 205"/>
                <a:gd name="T60" fmla="*/ 53 w 174"/>
                <a:gd name="T61" fmla="*/ 13 h 205"/>
                <a:gd name="T62" fmla="*/ 40 w 174"/>
                <a:gd name="T63" fmla="*/ 9 h 205"/>
                <a:gd name="T64" fmla="*/ 36 w 174"/>
                <a:gd name="T65" fmla="*/ 22 h 205"/>
                <a:gd name="T66" fmla="*/ 27 w 174"/>
                <a:gd name="T67" fmla="*/ 13 h 205"/>
                <a:gd name="T68" fmla="*/ 18 w 174"/>
                <a:gd name="T69" fmla="*/ 22 h 205"/>
                <a:gd name="T70" fmla="*/ 9 w 174"/>
                <a:gd name="T71" fmla="*/ 35 h 205"/>
                <a:gd name="T72" fmla="*/ 0 w 174"/>
                <a:gd name="T73" fmla="*/ 49 h 205"/>
                <a:gd name="T74" fmla="*/ 18 w 174"/>
                <a:gd name="T75" fmla="*/ 62 h 205"/>
                <a:gd name="T76" fmla="*/ 40 w 174"/>
                <a:gd name="T77" fmla="*/ 116 h 205"/>
                <a:gd name="T78" fmla="*/ 27 w 174"/>
                <a:gd name="T79" fmla="*/ 125 h 205"/>
                <a:gd name="T80" fmla="*/ 31 w 174"/>
                <a:gd name="T81" fmla="*/ 129 h 205"/>
                <a:gd name="T82" fmla="*/ 36 w 174"/>
                <a:gd name="T83" fmla="*/ 143 h 205"/>
                <a:gd name="T84" fmla="*/ 31 w 174"/>
                <a:gd name="T85" fmla="*/ 147 h 205"/>
                <a:gd name="T86" fmla="*/ 36 w 174"/>
                <a:gd name="T87" fmla="*/ 161 h 205"/>
                <a:gd name="T88" fmla="*/ 45 w 174"/>
                <a:gd name="T89" fmla="*/ 156 h 205"/>
                <a:gd name="T90" fmla="*/ 49 w 174"/>
                <a:gd name="T91" fmla="*/ 143 h 205"/>
                <a:gd name="T92" fmla="*/ 49 w 174"/>
                <a:gd name="T93" fmla="*/ 129 h 205"/>
                <a:gd name="T94" fmla="*/ 40 w 174"/>
                <a:gd name="T95" fmla="*/ 116 h 205"/>
                <a:gd name="T96" fmla="*/ 120 w 174"/>
                <a:gd name="T97" fmla="*/ 174 h 205"/>
                <a:gd name="T98" fmla="*/ 98 w 174"/>
                <a:gd name="T99" fmla="*/ 170 h 205"/>
                <a:gd name="T100" fmla="*/ 85 w 174"/>
                <a:gd name="T101" fmla="*/ 178 h 205"/>
                <a:gd name="T102" fmla="*/ 89 w 174"/>
                <a:gd name="T103" fmla="*/ 187 h 205"/>
                <a:gd name="T104" fmla="*/ 103 w 174"/>
                <a:gd name="T105" fmla="*/ 196 h 205"/>
                <a:gd name="T106" fmla="*/ 116 w 174"/>
                <a:gd name="T107" fmla="*/ 201 h 205"/>
                <a:gd name="T108" fmla="*/ 125 w 174"/>
                <a:gd name="T109" fmla="*/ 201 h 205"/>
                <a:gd name="T110" fmla="*/ 129 w 174"/>
                <a:gd name="T111" fmla="*/ 178 h 205"/>
                <a:gd name="T112" fmla="*/ 125 w 174"/>
                <a:gd name="T113" fmla="*/ 174 h 20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4"/>
                <a:gd name="T172" fmla="*/ 0 h 205"/>
                <a:gd name="T173" fmla="*/ 174 w 174"/>
                <a:gd name="T174" fmla="*/ 205 h 20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4" h="205">
                  <a:moveTo>
                    <a:pt x="22" y="67"/>
                  </a:moveTo>
                  <a:lnTo>
                    <a:pt x="27" y="62"/>
                  </a:lnTo>
                  <a:lnTo>
                    <a:pt x="31" y="58"/>
                  </a:lnTo>
                  <a:lnTo>
                    <a:pt x="36" y="49"/>
                  </a:lnTo>
                  <a:lnTo>
                    <a:pt x="49" y="58"/>
                  </a:lnTo>
                  <a:lnTo>
                    <a:pt x="53" y="62"/>
                  </a:lnTo>
                  <a:lnTo>
                    <a:pt x="58" y="80"/>
                  </a:lnTo>
                  <a:lnTo>
                    <a:pt x="62" y="94"/>
                  </a:lnTo>
                  <a:lnTo>
                    <a:pt x="85" y="111"/>
                  </a:lnTo>
                  <a:lnTo>
                    <a:pt x="94" y="120"/>
                  </a:lnTo>
                  <a:lnTo>
                    <a:pt x="103" y="116"/>
                  </a:lnTo>
                  <a:lnTo>
                    <a:pt x="112" y="129"/>
                  </a:lnTo>
                  <a:lnTo>
                    <a:pt x="120" y="129"/>
                  </a:lnTo>
                  <a:lnTo>
                    <a:pt x="120" y="138"/>
                  </a:lnTo>
                  <a:lnTo>
                    <a:pt x="129" y="143"/>
                  </a:lnTo>
                  <a:lnTo>
                    <a:pt x="138" y="161"/>
                  </a:lnTo>
                  <a:lnTo>
                    <a:pt x="134" y="165"/>
                  </a:lnTo>
                  <a:lnTo>
                    <a:pt x="134" y="170"/>
                  </a:lnTo>
                  <a:lnTo>
                    <a:pt x="129" y="174"/>
                  </a:lnTo>
                  <a:lnTo>
                    <a:pt x="134" y="183"/>
                  </a:lnTo>
                  <a:lnTo>
                    <a:pt x="138" y="178"/>
                  </a:lnTo>
                  <a:lnTo>
                    <a:pt x="147" y="170"/>
                  </a:lnTo>
                  <a:lnTo>
                    <a:pt x="147" y="165"/>
                  </a:lnTo>
                  <a:lnTo>
                    <a:pt x="152" y="161"/>
                  </a:lnTo>
                  <a:lnTo>
                    <a:pt x="156" y="152"/>
                  </a:lnTo>
                  <a:lnTo>
                    <a:pt x="143" y="143"/>
                  </a:lnTo>
                  <a:lnTo>
                    <a:pt x="152" y="134"/>
                  </a:lnTo>
                  <a:lnTo>
                    <a:pt x="156" y="134"/>
                  </a:lnTo>
                  <a:lnTo>
                    <a:pt x="165" y="134"/>
                  </a:lnTo>
                  <a:lnTo>
                    <a:pt x="165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65" y="125"/>
                  </a:lnTo>
                  <a:lnTo>
                    <a:pt x="147" y="111"/>
                  </a:lnTo>
                  <a:lnTo>
                    <a:pt x="138" y="111"/>
                  </a:lnTo>
                  <a:lnTo>
                    <a:pt x="138" y="102"/>
                  </a:lnTo>
                  <a:lnTo>
                    <a:pt x="138" y="98"/>
                  </a:lnTo>
                  <a:lnTo>
                    <a:pt x="120" y="98"/>
                  </a:lnTo>
                  <a:lnTo>
                    <a:pt x="112" y="89"/>
                  </a:lnTo>
                  <a:lnTo>
                    <a:pt x="103" y="80"/>
                  </a:lnTo>
                  <a:lnTo>
                    <a:pt x="98" y="71"/>
                  </a:lnTo>
                  <a:lnTo>
                    <a:pt x="85" y="58"/>
                  </a:lnTo>
                  <a:lnTo>
                    <a:pt x="80" y="49"/>
                  </a:lnTo>
                  <a:lnTo>
                    <a:pt x="85" y="44"/>
                  </a:lnTo>
                  <a:lnTo>
                    <a:pt x="80" y="35"/>
                  </a:lnTo>
                  <a:lnTo>
                    <a:pt x="80" y="31"/>
                  </a:lnTo>
                  <a:lnTo>
                    <a:pt x="85" y="27"/>
                  </a:lnTo>
                  <a:lnTo>
                    <a:pt x="94" y="22"/>
                  </a:lnTo>
                  <a:lnTo>
                    <a:pt x="98" y="27"/>
                  </a:lnTo>
                  <a:lnTo>
                    <a:pt x="103" y="27"/>
                  </a:lnTo>
                  <a:lnTo>
                    <a:pt x="103" y="31"/>
                  </a:lnTo>
                  <a:lnTo>
                    <a:pt x="107" y="31"/>
                  </a:lnTo>
                  <a:lnTo>
                    <a:pt x="103" y="22"/>
                  </a:lnTo>
                  <a:lnTo>
                    <a:pt x="103" y="18"/>
                  </a:lnTo>
                  <a:lnTo>
                    <a:pt x="98" y="13"/>
                  </a:lnTo>
                  <a:lnTo>
                    <a:pt x="103" y="13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0"/>
                  </a:lnTo>
                  <a:lnTo>
                    <a:pt x="67" y="4"/>
                  </a:lnTo>
                  <a:lnTo>
                    <a:pt x="58" y="4"/>
                  </a:lnTo>
                  <a:lnTo>
                    <a:pt x="53" y="13"/>
                  </a:lnTo>
                  <a:lnTo>
                    <a:pt x="45" y="13"/>
                  </a:lnTo>
                  <a:lnTo>
                    <a:pt x="40" y="9"/>
                  </a:lnTo>
                  <a:lnTo>
                    <a:pt x="40" y="18"/>
                  </a:lnTo>
                  <a:lnTo>
                    <a:pt x="36" y="22"/>
                  </a:lnTo>
                  <a:lnTo>
                    <a:pt x="31" y="13"/>
                  </a:lnTo>
                  <a:lnTo>
                    <a:pt x="27" y="13"/>
                  </a:lnTo>
                  <a:lnTo>
                    <a:pt x="27" y="22"/>
                  </a:lnTo>
                  <a:lnTo>
                    <a:pt x="18" y="22"/>
                  </a:lnTo>
                  <a:lnTo>
                    <a:pt x="13" y="22"/>
                  </a:lnTo>
                  <a:lnTo>
                    <a:pt x="9" y="35"/>
                  </a:lnTo>
                  <a:lnTo>
                    <a:pt x="4" y="35"/>
                  </a:lnTo>
                  <a:lnTo>
                    <a:pt x="0" y="49"/>
                  </a:lnTo>
                  <a:lnTo>
                    <a:pt x="9" y="62"/>
                  </a:lnTo>
                  <a:lnTo>
                    <a:pt x="18" y="62"/>
                  </a:lnTo>
                  <a:lnTo>
                    <a:pt x="22" y="67"/>
                  </a:lnTo>
                  <a:close/>
                  <a:moveTo>
                    <a:pt x="40" y="116"/>
                  </a:moveTo>
                  <a:lnTo>
                    <a:pt x="36" y="125"/>
                  </a:lnTo>
                  <a:lnTo>
                    <a:pt x="27" y="125"/>
                  </a:lnTo>
                  <a:lnTo>
                    <a:pt x="27" y="129"/>
                  </a:lnTo>
                  <a:lnTo>
                    <a:pt x="31" y="129"/>
                  </a:lnTo>
                  <a:lnTo>
                    <a:pt x="31" y="143"/>
                  </a:lnTo>
                  <a:lnTo>
                    <a:pt x="36" y="143"/>
                  </a:lnTo>
                  <a:lnTo>
                    <a:pt x="36" y="147"/>
                  </a:lnTo>
                  <a:lnTo>
                    <a:pt x="31" y="147"/>
                  </a:lnTo>
                  <a:lnTo>
                    <a:pt x="31" y="156"/>
                  </a:lnTo>
                  <a:lnTo>
                    <a:pt x="36" y="161"/>
                  </a:lnTo>
                  <a:lnTo>
                    <a:pt x="40" y="161"/>
                  </a:lnTo>
                  <a:lnTo>
                    <a:pt x="45" y="156"/>
                  </a:lnTo>
                  <a:lnTo>
                    <a:pt x="49" y="143"/>
                  </a:lnTo>
                  <a:lnTo>
                    <a:pt x="45" y="134"/>
                  </a:lnTo>
                  <a:lnTo>
                    <a:pt x="49" y="129"/>
                  </a:lnTo>
                  <a:lnTo>
                    <a:pt x="49" y="120"/>
                  </a:lnTo>
                  <a:lnTo>
                    <a:pt x="40" y="116"/>
                  </a:lnTo>
                  <a:close/>
                  <a:moveTo>
                    <a:pt x="125" y="174"/>
                  </a:moveTo>
                  <a:lnTo>
                    <a:pt x="120" y="174"/>
                  </a:lnTo>
                  <a:lnTo>
                    <a:pt x="107" y="174"/>
                  </a:lnTo>
                  <a:lnTo>
                    <a:pt x="98" y="170"/>
                  </a:lnTo>
                  <a:lnTo>
                    <a:pt x="89" y="174"/>
                  </a:lnTo>
                  <a:lnTo>
                    <a:pt x="85" y="178"/>
                  </a:lnTo>
                  <a:lnTo>
                    <a:pt x="85" y="187"/>
                  </a:lnTo>
                  <a:lnTo>
                    <a:pt x="89" y="187"/>
                  </a:lnTo>
                  <a:lnTo>
                    <a:pt x="94" y="187"/>
                  </a:lnTo>
                  <a:lnTo>
                    <a:pt x="103" y="196"/>
                  </a:lnTo>
                  <a:lnTo>
                    <a:pt x="112" y="196"/>
                  </a:lnTo>
                  <a:lnTo>
                    <a:pt x="116" y="201"/>
                  </a:lnTo>
                  <a:lnTo>
                    <a:pt x="125" y="205"/>
                  </a:lnTo>
                  <a:lnTo>
                    <a:pt x="125" y="201"/>
                  </a:lnTo>
                  <a:lnTo>
                    <a:pt x="125" y="187"/>
                  </a:lnTo>
                  <a:lnTo>
                    <a:pt x="129" y="178"/>
                  </a:lnTo>
                  <a:lnTo>
                    <a:pt x="129" y="174"/>
                  </a:lnTo>
                  <a:lnTo>
                    <a:pt x="125" y="17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8" name="Freeform 220"/>
            <p:cNvSpPr>
              <a:spLocks/>
            </p:cNvSpPr>
            <p:nvPr/>
          </p:nvSpPr>
          <p:spPr bwMode="gray">
            <a:xfrm>
              <a:off x="3022" y="1738"/>
              <a:ext cx="108" cy="67"/>
            </a:xfrm>
            <a:custGeom>
              <a:avLst/>
              <a:gdLst>
                <a:gd name="T0" fmla="*/ 5 w 108"/>
                <a:gd name="T1" fmla="*/ 49 h 67"/>
                <a:gd name="T2" fmla="*/ 9 w 108"/>
                <a:gd name="T3" fmla="*/ 49 h 67"/>
                <a:gd name="T4" fmla="*/ 18 w 108"/>
                <a:gd name="T5" fmla="*/ 45 h 67"/>
                <a:gd name="T6" fmla="*/ 23 w 108"/>
                <a:gd name="T7" fmla="*/ 49 h 67"/>
                <a:gd name="T8" fmla="*/ 32 w 108"/>
                <a:gd name="T9" fmla="*/ 45 h 67"/>
                <a:gd name="T10" fmla="*/ 49 w 108"/>
                <a:gd name="T11" fmla="*/ 49 h 67"/>
                <a:gd name="T12" fmla="*/ 58 w 108"/>
                <a:gd name="T13" fmla="*/ 45 h 67"/>
                <a:gd name="T14" fmla="*/ 63 w 108"/>
                <a:gd name="T15" fmla="*/ 49 h 67"/>
                <a:gd name="T16" fmla="*/ 67 w 108"/>
                <a:gd name="T17" fmla="*/ 54 h 67"/>
                <a:gd name="T18" fmla="*/ 81 w 108"/>
                <a:gd name="T19" fmla="*/ 67 h 67"/>
                <a:gd name="T20" fmla="*/ 94 w 108"/>
                <a:gd name="T21" fmla="*/ 63 h 67"/>
                <a:gd name="T22" fmla="*/ 99 w 108"/>
                <a:gd name="T23" fmla="*/ 58 h 67"/>
                <a:gd name="T24" fmla="*/ 103 w 108"/>
                <a:gd name="T25" fmla="*/ 49 h 67"/>
                <a:gd name="T26" fmla="*/ 103 w 108"/>
                <a:gd name="T27" fmla="*/ 49 h 67"/>
                <a:gd name="T28" fmla="*/ 103 w 108"/>
                <a:gd name="T29" fmla="*/ 40 h 67"/>
                <a:gd name="T30" fmla="*/ 103 w 108"/>
                <a:gd name="T31" fmla="*/ 22 h 67"/>
                <a:gd name="T32" fmla="*/ 108 w 108"/>
                <a:gd name="T33" fmla="*/ 18 h 67"/>
                <a:gd name="T34" fmla="*/ 103 w 108"/>
                <a:gd name="T35" fmla="*/ 13 h 67"/>
                <a:gd name="T36" fmla="*/ 99 w 108"/>
                <a:gd name="T37" fmla="*/ 13 h 67"/>
                <a:gd name="T38" fmla="*/ 90 w 108"/>
                <a:gd name="T39" fmla="*/ 9 h 67"/>
                <a:gd name="T40" fmla="*/ 85 w 108"/>
                <a:gd name="T41" fmla="*/ 9 h 67"/>
                <a:gd name="T42" fmla="*/ 76 w 108"/>
                <a:gd name="T43" fmla="*/ 5 h 67"/>
                <a:gd name="T44" fmla="*/ 67 w 108"/>
                <a:gd name="T45" fmla="*/ 0 h 67"/>
                <a:gd name="T46" fmla="*/ 54 w 108"/>
                <a:gd name="T47" fmla="*/ 5 h 67"/>
                <a:gd name="T48" fmla="*/ 54 w 108"/>
                <a:gd name="T49" fmla="*/ 18 h 67"/>
                <a:gd name="T50" fmla="*/ 49 w 108"/>
                <a:gd name="T51" fmla="*/ 22 h 67"/>
                <a:gd name="T52" fmla="*/ 41 w 108"/>
                <a:gd name="T53" fmla="*/ 27 h 67"/>
                <a:gd name="T54" fmla="*/ 32 w 108"/>
                <a:gd name="T55" fmla="*/ 22 h 67"/>
                <a:gd name="T56" fmla="*/ 32 w 108"/>
                <a:gd name="T57" fmla="*/ 18 h 67"/>
                <a:gd name="T58" fmla="*/ 27 w 108"/>
                <a:gd name="T59" fmla="*/ 9 h 67"/>
                <a:gd name="T60" fmla="*/ 23 w 108"/>
                <a:gd name="T61" fmla="*/ 5 h 67"/>
                <a:gd name="T62" fmla="*/ 14 w 108"/>
                <a:gd name="T63" fmla="*/ 9 h 67"/>
                <a:gd name="T64" fmla="*/ 9 w 108"/>
                <a:gd name="T65" fmla="*/ 13 h 67"/>
                <a:gd name="T66" fmla="*/ 9 w 108"/>
                <a:gd name="T67" fmla="*/ 22 h 67"/>
                <a:gd name="T68" fmla="*/ 0 w 108"/>
                <a:gd name="T69" fmla="*/ 31 h 67"/>
                <a:gd name="T70" fmla="*/ 5 w 108"/>
                <a:gd name="T71" fmla="*/ 49 h 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8"/>
                <a:gd name="T109" fmla="*/ 0 h 67"/>
                <a:gd name="T110" fmla="*/ 108 w 108"/>
                <a:gd name="T111" fmla="*/ 67 h 6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8" h="67">
                  <a:moveTo>
                    <a:pt x="5" y="49"/>
                  </a:moveTo>
                  <a:lnTo>
                    <a:pt x="9" y="49"/>
                  </a:lnTo>
                  <a:lnTo>
                    <a:pt x="18" y="45"/>
                  </a:lnTo>
                  <a:lnTo>
                    <a:pt x="23" y="49"/>
                  </a:lnTo>
                  <a:lnTo>
                    <a:pt x="32" y="45"/>
                  </a:lnTo>
                  <a:lnTo>
                    <a:pt x="49" y="49"/>
                  </a:lnTo>
                  <a:lnTo>
                    <a:pt x="58" y="45"/>
                  </a:lnTo>
                  <a:lnTo>
                    <a:pt x="63" y="49"/>
                  </a:lnTo>
                  <a:lnTo>
                    <a:pt x="67" y="54"/>
                  </a:lnTo>
                  <a:lnTo>
                    <a:pt x="81" y="67"/>
                  </a:lnTo>
                  <a:lnTo>
                    <a:pt x="94" y="63"/>
                  </a:lnTo>
                  <a:lnTo>
                    <a:pt x="99" y="58"/>
                  </a:lnTo>
                  <a:lnTo>
                    <a:pt x="103" y="49"/>
                  </a:lnTo>
                  <a:lnTo>
                    <a:pt x="103" y="40"/>
                  </a:lnTo>
                  <a:lnTo>
                    <a:pt x="103" y="22"/>
                  </a:lnTo>
                  <a:lnTo>
                    <a:pt x="108" y="18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0" y="9"/>
                  </a:lnTo>
                  <a:lnTo>
                    <a:pt x="85" y="9"/>
                  </a:lnTo>
                  <a:lnTo>
                    <a:pt x="76" y="5"/>
                  </a:lnTo>
                  <a:lnTo>
                    <a:pt x="67" y="0"/>
                  </a:lnTo>
                  <a:lnTo>
                    <a:pt x="54" y="5"/>
                  </a:lnTo>
                  <a:lnTo>
                    <a:pt x="54" y="18"/>
                  </a:lnTo>
                  <a:lnTo>
                    <a:pt x="49" y="22"/>
                  </a:lnTo>
                  <a:lnTo>
                    <a:pt x="41" y="27"/>
                  </a:lnTo>
                  <a:lnTo>
                    <a:pt x="32" y="22"/>
                  </a:lnTo>
                  <a:lnTo>
                    <a:pt x="32" y="18"/>
                  </a:lnTo>
                  <a:lnTo>
                    <a:pt x="27" y="9"/>
                  </a:lnTo>
                  <a:lnTo>
                    <a:pt x="23" y="5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9" y="22"/>
                  </a:lnTo>
                  <a:lnTo>
                    <a:pt x="0" y="31"/>
                  </a:lnTo>
                  <a:lnTo>
                    <a:pt x="5" y="4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299" name="Freeform 221"/>
            <p:cNvSpPr>
              <a:spLocks/>
            </p:cNvSpPr>
            <p:nvPr/>
          </p:nvSpPr>
          <p:spPr bwMode="gray">
            <a:xfrm>
              <a:off x="3022" y="1783"/>
              <a:ext cx="85" cy="62"/>
            </a:xfrm>
            <a:custGeom>
              <a:avLst/>
              <a:gdLst>
                <a:gd name="T0" fmla="*/ 5 w 85"/>
                <a:gd name="T1" fmla="*/ 4 h 62"/>
                <a:gd name="T2" fmla="*/ 0 w 85"/>
                <a:gd name="T3" fmla="*/ 4 h 62"/>
                <a:gd name="T4" fmla="*/ 5 w 85"/>
                <a:gd name="T5" fmla="*/ 18 h 62"/>
                <a:gd name="T6" fmla="*/ 5 w 85"/>
                <a:gd name="T7" fmla="*/ 22 h 62"/>
                <a:gd name="T8" fmla="*/ 9 w 85"/>
                <a:gd name="T9" fmla="*/ 22 h 62"/>
                <a:gd name="T10" fmla="*/ 9 w 85"/>
                <a:gd name="T11" fmla="*/ 27 h 62"/>
                <a:gd name="T12" fmla="*/ 23 w 85"/>
                <a:gd name="T13" fmla="*/ 31 h 62"/>
                <a:gd name="T14" fmla="*/ 32 w 85"/>
                <a:gd name="T15" fmla="*/ 31 h 62"/>
                <a:gd name="T16" fmla="*/ 32 w 85"/>
                <a:gd name="T17" fmla="*/ 35 h 62"/>
                <a:gd name="T18" fmla="*/ 32 w 85"/>
                <a:gd name="T19" fmla="*/ 49 h 62"/>
                <a:gd name="T20" fmla="*/ 41 w 85"/>
                <a:gd name="T21" fmla="*/ 58 h 62"/>
                <a:gd name="T22" fmla="*/ 41 w 85"/>
                <a:gd name="T23" fmla="*/ 62 h 62"/>
                <a:gd name="T24" fmla="*/ 49 w 85"/>
                <a:gd name="T25" fmla="*/ 53 h 62"/>
                <a:gd name="T26" fmla="*/ 58 w 85"/>
                <a:gd name="T27" fmla="*/ 58 h 62"/>
                <a:gd name="T28" fmla="*/ 63 w 85"/>
                <a:gd name="T29" fmla="*/ 53 h 62"/>
                <a:gd name="T30" fmla="*/ 67 w 85"/>
                <a:gd name="T31" fmla="*/ 58 h 62"/>
                <a:gd name="T32" fmla="*/ 67 w 85"/>
                <a:gd name="T33" fmla="*/ 49 h 62"/>
                <a:gd name="T34" fmla="*/ 72 w 85"/>
                <a:gd name="T35" fmla="*/ 44 h 62"/>
                <a:gd name="T36" fmla="*/ 76 w 85"/>
                <a:gd name="T37" fmla="*/ 35 h 62"/>
                <a:gd name="T38" fmla="*/ 81 w 85"/>
                <a:gd name="T39" fmla="*/ 31 h 62"/>
                <a:gd name="T40" fmla="*/ 81 w 85"/>
                <a:gd name="T41" fmla="*/ 31 h 62"/>
                <a:gd name="T42" fmla="*/ 85 w 85"/>
                <a:gd name="T43" fmla="*/ 31 h 62"/>
                <a:gd name="T44" fmla="*/ 81 w 85"/>
                <a:gd name="T45" fmla="*/ 27 h 62"/>
                <a:gd name="T46" fmla="*/ 81 w 85"/>
                <a:gd name="T47" fmla="*/ 27 h 62"/>
                <a:gd name="T48" fmla="*/ 81 w 85"/>
                <a:gd name="T49" fmla="*/ 22 h 62"/>
                <a:gd name="T50" fmla="*/ 67 w 85"/>
                <a:gd name="T51" fmla="*/ 9 h 62"/>
                <a:gd name="T52" fmla="*/ 63 w 85"/>
                <a:gd name="T53" fmla="*/ 4 h 62"/>
                <a:gd name="T54" fmla="*/ 58 w 85"/>
                <a:gd name="T55" fmla="*/ 0 h 62"/>
                <a:gd name="T56" fmla="*/ 49 w 85"/>
                <a:gd name="T57" fmla="*/ 4 h 62"/>
                <a:gd name="T58" fmla="*/ 32 w 85"/>
                <a:gd name="T59" fmla="*/ 0 h 62"/>
                <a:gd name="T60" fmla="*/ 23 w 85"/>
                <a:gd name="T61" fmla="*/ 4 h 62"/>
                <a:gd name="T62" fmla="*/ 18 w 85"/>
                <a:gd name="T63" fmla="*/ 0 h 62"/>
                <a:gd name="T64" fmla="*/ 9 w 85"/>
                <a:gd name="T65" fmla="*/ 4 h 62"/>
                <a:gd name="T66" fmla="*/ 5 w 85"/>
                <a:gd name="T67" fmla="*/ 4 h 6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5"/>
                <a:gd name="T103" fmla="*/ 0 h 62"/>
                <a:gd name="T104" fmla="*/ 85 w 85"/>
                <a:gd name="T105" fmla="*/ 62 h 6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5" h="62">
                  <a:moveTo>
                    <a:pt x="5" y="4"/>
                  </a:moveTo>
                  <a:lnTo>
                    <a:pt x="0" y="4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9" y="22"/>
                  </a:lnTo>
                  <a:lnTo>
                    <a:pt x="9" y="27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32" y="35"/>
                  </a:lnTo>
                  <a:lnTo>
                    <a:pt x="32" y="49"/>
                  </a:lnTo>
                  <a:lnTo>
                    <a:pt x="41" y="58"/>
                  </a:lnTo>
                  <a:lnTo>
                    <a:pt x="41" y="62"/>
                  </a:lnTo>
                  <a:lnTo>
                    <a:pt x="49" y="53"/>
                  </a:lnTo>
                  <a:lnTo>
                    <a:pt x="58" y="58"/>
                  </a:lnTo>
                  <a:lnTo>
                    <a:pt x="63" y="53"/>
                  </a:lnTo>
                  <a:lnTo>
                    <a:pt x="67" y="58"/>
                  </a:lnTo>
                  <a:lnTo>
                    <a:pt x="67" y="49"/>
                  </a:lnTo>
                  <a:lnTo>
                    <a:pt x="72" y="44"/>
                  </a:lnTo>
                  <a:lnTo>
                    <a:pt x="76" y="35"/>
                  </a:lnTo>
                  <a:lnTo>
                    <a:pt x="81" y="31"/>
                  </a:lnTo>
                  <a:lnTo>
                    <a:pt x="85" y="31"/>
                  </a:lnTo>
                  <a:lnTo>
                    <a:pt x="81" y="27"/>
                  </a:lnTo>
                  <a:lnTo>
                    <a:pt x="81" y="22"/>
                  </a:lnTo>
                  <a:lnTo>
                    <a:pt x="67" y="9"/>
                  </a:lnTo>
                  <a:lnTo>
                    <a:pt x="63" y="4"/>
                  </a:lnTo>
                  <a:lnTo>
                    <a:pt x="58" y="0"/>
                  </a:lnTo>
                  <a:lnTo>
                    <a:pt x="49" y="4"/>
                  </a:lnTo>
                  <a:lnTo>
                    <a:pt x="32" y="0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9" y="4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0" name="Freeform 222"/>
            <p:cNvSpPr>
              <a:spLocks/>
            </p:cNvSpPr>
            <p:nvPr/>
          </p:nvSpPr>
          <p:spPr bwMode="gray">
            <a:xfrm>
              <a:off x="2812" y="1935"/>
              <a:ext cx="9" cy="13"/>
            </a:xfrm>
            <a:custGeom>
              <a:avLst/>
              <a:gdLst>
                <a:gd name="T0" fmla="*/ 0 w 9"/>
                <a:gd name="T1" fmla="*/ 13 h 13"/>
                <a:gd name="T2" fmla="*/ 0 w 9"/>
                <a:gd name="T3" fmla="*/ 9 h 13"/>
                <a:gd name="T4" fmla="*/ 0 w 9"/>
                <a:gd name="T5" fmla="*/ 0 h 13"/>
                <a:gd name="T6" fmla="*/ 5 w 9"/>
                <a:gd name="T7" fmla="*/ 0 h 13"/>
                <a:gd name="T8" fmla="*/ 5 w 9"/>
                <a:gd name="T9" fmla="*/ 4 h 13"/>
                <a:gd name="T10" fmla="*/ 9 w 9"/>
                <a:gd name="T11" fmla="*/ 9 h 13"/>
                <a:gd name="T12" fmla="*/ 9 w 9"/>
                <a:gd name="T13" fmla="*/ 13 h 13"/>
                <a:gd name="T14" fmla="*/ 5 w 9"/>
                <a:gd name="T15" fmla="*/ 13 h 13"/>
                <a:gd name="T16" fmla="*/ 0 w 9"/>
                <a:gd name="T17" fmla="*/ 13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3"/>
                <a:gd name="T29" fmla="*/ 9 w 9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3">
                  <a:moveTo>
                    <a:pt x="0" y="13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9" y="9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1" name="Freeform 223"/>
            <p:cNvSpPr>
              <a:spLocks/>
            </p:cNvSpPr>
            <p:nvPr/>
          </p:nvSpPr>
          <p:spPr bwMode="gray">
            <a:xfrm>
              <a:off x="3107" y="1975"/>
              <a:ext cx="45" cy="58"/>
            </a:xfrm>
            <a:custGeom>
              <a:avLst/>
              <a:gdLst>
                <a:gd name="T0" fmla="*/ 0 w 45"/>
                <a:gd name="T1" fmla="*/ 0 h 58"/>
                <a:gd name="T2" fmla="*/ 14 w 45"/>
                <a:gd name="T3" fmla="*/ 18 h 58"/>
                <a:gd name="T4" fmla="*/ 18 w 45"/>
                <a:gd name="T5" fmla="*/ 27 h 58"/>
                <a:gd name="T6" fmla="*/ 23 w 45"/>
                <a:gd name="T7" fmla="*/ 40 h 58"/>
                <a:gd name="T8" fmla="*/ 18 w 45"/>
                <a:gd name="T9" fmla="*/ 58 h 58"/>
                <a:gd name="T10" fmla="*/ 27 w 45"/>
                <a:gd name="T11" fmla="*/ 58 h 58"/>
                <a:gd name="T12" fmla="*/ 31 w 45"/>
                <a:gd name="T13" fmla="*/ 54 h 58"/>
                <a:gd name="T14" fmla="*/ 31 w 45"/>
                <a:gd name="T15" fmla="*/ 49 h 58"/>
                <a:gd name="T16" fmla="*/ 31 w 45"/>
                <a:gd name="T17" fmla="*/ 40 h 58"/>
                <a:gd name="T18" fmla="*/ 36 w 45"/>
                <a:gd name="T19" fmla="*/ 45 h 58"/>
                <a:gd name="T20" fmla="*/ 36 w 45"/>
                <a:gd name="T21" fmla="*/ 40 h 58"/>
                <a:gd name="T22" fmla="*/ 40 w 45"/>
                <a:gd name="T23" fmla="*/ 40 h 58"/>
                <a:gd name="T24" fmla="*/ 45 w 45"/>
                <a:gd name="T25" fmla="*/ 40 h 58"/>
                <a:gd name="T26" fmla="*/ 45 w 45"/>
                <a:gd name="T27" fmla="*/ 31 h 58"/>
                <a:gd name="T28" fmla="*/ 40 w 45"/>
                <a:gd name="T29" fmla="*/ 22 h 58"/>
                <a:gd name="T30" fmla="*/ 40 w 45"/>
                <a:gd name="T31" fmla="*/ 13 h 58"/>
                <a:gd name="T32" fmla="*/ 27 w 45"/>
                <a:gd name="T33" fmla="*/ 4 h 58"/>
                <a:gd name="T34" fmla="*/ 23 w 45"/>
                <a:gd name="T35" fmla="*/ 4 h 58"/>
                <a:gd name="T36" fmla="*/ 18 w 45"/>
                <a:gd name="T37" fmla="*/ 0 h 58"/>
                <a:gd name="T38" fmla="*/ 14 w 45"/>
                <a:gd name="T39" fmla="*/ 4 h 58"/>
                <a:gd name="T40" fmla="*/ 14 w 45"/>
                <a:gd name="T41" fmla="*/ 0 h 58"/>
                <a:gd name="T42" fmla="*/ 0 w 45"/>
                <a:gd name="T43" fmla="*/ 0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5"/>
                <a:gd name="T67" fmla="*/ 0 h 58"/>
                <a:gd name="T68" fmla="*/ 45 w 45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5" h="58">
                  <a:moveTo>
                    <a:pt x="0" y="0"/>
                  </a:moveTo>
                  <a:lnTo>
                    <a:pt x="14" y="18"/>
                  </a:lnTo>
                  <a:lnTo>
                    <a:pt x="18" y="27"/>
                  </a:lnTo>
                  <a:lnTo>
                    <a:pt x="23" y="40"/>
                  </a:lnTo>
                  <a:lnTo>
                    <a:pt x="18" y="58"/>
                  </a:lnTo>
                  <a:lnTo>
                    <a:pt x="27" y="58"/>
                  </a:lnTo>
                  <a:lnTo>
                    <a:pt x="31" y="54"/>
                  </a:lnTo>
                  <a:lnTo>
                    <a:pt x="31" y="49"/>
                  </a:lnTo>
                  <a:lnTo>
                    <a:pt x="31" y="40"/>
                  </a:lnTo>
                  <a:lnTo>
                    <a:pt x="36" y="45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5" y="40"/>
                  </a:lnTo>
                  <a:lnTo>
                    <a:pt x="45" y="31"/>
                  </a:lnTo>
                  <a:lnTo>
                    <a:pt x="40" y="22"/>
                  </a:lnTo>
                  <a:lnTo>
                    <a:pt x="40" y="13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2" name="Freeform 224"/>
            <p:cNvSpPr>
              <a:spLocks/>
            </p:cNvSpPr>
            <p:nvPr/>
          </p:nvSpPr>
          <p:spPr bwMode="gray">
            <a:xfrm>
              <a:off x="2772" y="1854"/>
              <a:ext cx="58" cy="63"/>
            </a:xfrm>
            <a:custGeom>
              <a:avLst/>
              <a:gdLst>
                <a:gd name="T0" fmla="*/ 45 w 58"/>
                <a:gd name="T1" fmla="*/ 63 h 63"/>
                <a:gd name="T2" fmla="*/ 40 w 58"/>
                <a:gd name="T3" fmla="*/ 63 h 63"/>
                <a:gd name="T4" fmla="*/ 40 w 58"/>
                <a:gd name="T5" fmla="*/ 58 h 63"/>
                <a:gd name="T6" fmla="*/ 36 w 58"/>
                <a:gd name="T7" fmla="*/ 54 h 63"/>
                <a:gd name="T8" fmla="*/ 27 w 58"/>
                <a:gd name="T9" fmla="*/ 54 h 63"/>
                <a:gd name="T10" fmla="*/ 18 w 58"/>
                <a:gd name="T11" fmla="*/ 45 h 63"/>
                <a:gd name="T12" fmla="*/ 14 w 58"/>
                <a:gd name="T13" fmla="*/ 54 h 63"/>
                <a:gd name="T14" fmla="*/ 9 w 58"/>
                <a:gd name="T15" fmla="*/ 54 h 63"/>
                <a:gd name="T16" fmla="*/ 0 w 58"/>
                <a:gd name="T17" fmla="*/ 54 h 63"/>
                <a:gd name="T18" fmla="*/ 0 w 58"/>
                <a:gd name="T19" fmla="*/ 49 h 63"/>
                <a:gd name="T20" fmla="*/ 5 w 58"/>
                <a:gd name="T21" fmla="*/ 49 h 63"/>
                <a:gd name="T22" fmla="*/ 5 w 58"/>
                <a:gd name="T23" fmla="*/ 49 h 63"/>
                <a:gd name="T24" fmla="*/ 5 w 58"/>
                <a:gd name="T25" fmla="*/ 49 h 63"/>
                <a:gd name="T26" fmla="*/ 0 w 58"/>
                <a:gd name="T27" fmla="*/ 45 h 63"/>
                <a:gd name="T28" fmla="*/ 5 w 58"/>
                <a:gd name="T29" fmla="*/ 40 h 63"/>
                <a:gd name="T30" fmla="*/ 14 w 58"/>
                <a:gd name="T31" fmla="*/ 45 h 63"/>
                <a:gd name="T32" fmla="*/ 14 w 58"/>
                <a:gd name="T33" fmla="*/ 40 h 63"/>
                <a:gd name="T34" fmla="*/ 9 w 58"/>
                <a:gd name="T35" fmla="*/ 40 h 63"/>
                <a:gd name="T36" fmla="*/ 5 w 58"/>
                <a:gd name="T37" fmla="*/ 40 h 63"/>
                <a:gd name="T38" fmla="*/ 14 w 58"/>
                <a:gd name="T39" fmla="*/ 36 h 63"/>
                <a:gd name="T40" fmla="*/ 18 w 58"/>
                <a:gd name="T41" fmla="*/ 27 h 63"/>
                <a:gd name="T42" fmla="*/ 27 w 58"/>
                <a:gd name="T43" fmla="*/ 9 h 63"/>
                <a:gd name="T44" fmla="*/ 27 w 58"/>
                <a:gd name="T45" fmla="*/ 9 h 63"/>
                <a:gd name="T46" fmla="*/ 31 w 58"/>
                <a:gd name="T47" fmla="*/ 9 h 63"/>
                <a:gd name="T48" fmla="*/ 36 w 58"/>
                <a:gd name="T49" fmla="*/ 5 h 63"/>
                <a:gd name="T50" fmla="*/ 40 w 58"/>
                <a:gd name="T51" fmla="*/ 0 h 63"/>
                <a:gd name="T52" fmla="*/ 54 w 58"/>
                <a:gd name="T53" fmla="*/ 0 h 63"/>
                <a:gd name="T54" fmla="*/ 54 w 58"/>
                <a:gd name="T55" fmla="*/ 0 h 63"/>
                <a:gd name="T56" fmla="*/ 54 w 58"/>
                <a:gd name="T57" fmla="*/ 9 h 63"/>
                <a:gd name="T58" fmla="*/ 58 w 58"/>
                <a:gd name="T59" fmla="*/ 9 h 63"/>
                <a:gd name="T60" fmla="*/ 54 w 58"/>
                <a:gd name="T61" fmla="*/ 18 h 63"/>
                <a:gd name="T62" fmla="*/ 54 w 58"/>
                <a:gd name="T63" fmla="*/ 18 h 63"/>
                <a:gd name="T64" fmla="*/ 54 w 58"/>
                <a:gd name="T65" fmla="*/ 36 h 63"/>
                <a:gd name="T66" fmla="*/ 49 w 58"/>
                <a:gd name="T67" fmla="*/ 36 h 63"/>
                <a:gd name="T68" fmla="*/ 40 w 58"/>
                <a:gd name="T69" fmla="*/ 40 h 63"/>
                <a:gd name="T70" fmla="*/ 40 w 58"/>
                <a:gd name="T71" fmla="*/ 45 h 63"/>
                <a:gd name="T72" fmla="*/ 45 w 58"/>
                <a:gd name="T73" fmla="*/ 49 h 63"/>
                <a:gd name="T74" fmla="*/ 40 w 58"/>
                <a:gd name="T75" fmla="*/ 58 h 63"/>
                <a:gd name="T76" fmla="*/ 45 w 58"/>
                <a:gd name="T77" fmla="*/ 63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8"/>
                <a:gd name="T118" fmla="*/ 0 h 63"/>
                <a:gd name="T119" fmla="*/ 58 w 58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8" h="63">
                  <a:moveTo>
                    <a:pt x="45" y="63"/>
                  </a:moveTo>
                  <a:lnTo>
                    <a:pt x="40" y="63"/>
                  </a:lnTo>
                  <a:lnTo>
                    <a:pt x="40" y="58"/>
                  </a:lnTo>
                  <a:lnTo>
                    <a:pt x="36" y="54"/>
                  </a:lnTo>
                  <a:lnTo>
                    <a:pt x="27" y="54"/>
                  </a:lnTo>
                  <a:lnTo>
                    <a:pt x="18" y="45"/>
                  </a:lnTo>
                  <a:lnTo>
                    <a:pt x="14" y="54"/>
                  </a:lnTo>
                  <a:lnTo>
                    <a:pt x="9" y="54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5" y="49"/>
                  </a:lnTo>
                  <a:lnTo>
                    <a:pt x="0" y="45"/>
                  </a:lnTo>
                  <a:lnTo>
                    <a:pt x="5" y="40"/>
                  </a:lnTo>
                  <a:lnTo>
                    <a:pt x="14" y="45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14" y="36"/>
                  </a:lnTo>
                  <a:lnTo>
                    <a:pt x="18" y="27"/>
                  </a:lnTo>
                  <a:lnTo>
                    <a:pt x="27" y="9"/>
                  </a:lnTo>
                  <a:lnTo>
                    <a:pt x="31" y="9"/>
                  </a:lnTo>
                  <a:lnTo>
                    <a:pt x="36" y="5"/>
                  </a:lnTo>
                  <a:lnTo>
                    <a:pt x="40" y="0"/>
                  </a:lnTo>
                  <a:lnTo>
                    <a:pt x="54" y="0"/>
                  </a:lnTo>
                  <a:lnTo>
                    <a:pt x="54" y="9"/>
                  </a:lnTo>
                  <a:lnTo>
                    <a:pt x="58" y="9"/>
                  </a:lnTo>
                  <a:lnTo>
                    <a:pt x="54" y="18"/>
                  </a:lnTo>
                  <a:lnTo>
                    <a:pt x="54" y="36"/>
                  </a:lnTo>
                  <a:lnTo>
                    <a:pt x="49" y="36"/>
                  </a:lnTo>
                  <a:lnTo>
                    <a:pt x="40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0" y="58"/>
                  </a:lnTo>
                  <a:lnTo>
                    <a:pt x="45" y="63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3" name="Freeform 225"/>
            <p:cNvSpPr>
              <a:spLocks noEditPoints="1"/>
            </p:cNvSpPr>
            <p:nvPr/>
          </p:nvSpPr>
          <p:spPr bwMode="gray">
            <a:xfrm>
              <a:off x="2799" y="1273"/>
              <a:ext cx="371" cy="465"/>
            </a:xfrm>
            <a:custGeom>
              <a:avLst/>
              <a:gdLst>
                <a:gd name="T0" fmla="*/ 98 w 371"/>
                <a:gd name="T1" fmla="*/ 416 h 465"/>
                <a:gd name="T2" fmla="*/ 98 w 371"/>
                <a:gd name="T3" fmla="*/ 349 h 465"/>
                <a:gd name="T4" fmla="*/ 103 w 371"/>
                <a:gd name="T5" fmla="*/ 277 h 465"/>
                <a:gd name="T6" fmla="*/ 125 w 371"/>
                <a:gd name="T7" fmla="*/ 259 h 465"/>
                <a:gd name="T8" fmla="*/ 143 w 371"/>
                <a:gd name="T9" fmla="*/ 215 h 465"/>
                <a:gd name="T10" fmla="*/ 161 w 371"/>
                <a:gd name="T11" fmla="*/ 157 h 465"/>
                <a:gd name="T12" fmla="*/ 188 w 371"/>
                <a:gd name="T13" fmla="*/ 130 h 465"/>
                <a:gd name="T14" fmla="*/ 210 w 371"/>
                <a:gd name="T15" fmla="*/ 103 h 465"/>
                <a:gd name="T16" fmla="*/ 228 w 371"/>
                <a:gd name="T17" fmla="*/ 90 h 465"/>
                <a:gd name="T18" fmla="*/ 272 w 371"/>
                <a:gd name="T19" fmla="*/ 108 h 465"/>
                <a:gd name="T20" fmla="*/ 308 w 371"/>
                <a:gd name="T21" fmla="*/ 58 h 465"/>
                <a:gd name="T22" fmla="*/ 339 w 371"/>
                <a:gd name="T23" fmla="*/ 67 h 465"/>
                <a:gd name="T24" fmla="*/ 344 w 371"/>
                <a:gd name="T25" fmla="*/ 90 h 465"/>
                <a:gd name="T26" fmla="*/ 362 w 371"/>
                <a:gd name="T27" fmla="*/ 76 h 465"/>
                <a:gd name="T28" fmla="*/ 357 w 371"/>
                <a:gd name="T29" fmla="*/ 49 h 465"/>
                <a:gd name="T30" fmla="*/ 348 w 371"/>
                <a:gd name="T31" fmla="*/ 18 h 465"/>
                <a:gd name="T32" fmla="*/ 335 w 371"/>
                <a:gd name="T33" fmla="*/ 14 h 465"/>
                <a:gd name="T34" fmla="*/ 335 w 371"/>
                <a:gd name="T35" fmla="*/ 5 h 465"/>
                <a:gd name="T36" fmla="*/ 308 w 371"/>
                <a:gd name="T37" fmla="*/ 32 h 465"/>
                <a:gd name="T38" fmla="*/ 281 w 371"/>
                <a:gd name="T39" fmla="*/ 49 h 465"/>
                <a:gd name="T40" fmla="*/ 272 w 371"/>
                <a:gd name="T41" fmla="*/ 18 h 465"/>
                <a:gd name="T42" fmla="*/ 259 w 371"/>
                <a:gd name="T43" fmla="*/ 54 h 465"/>
                <a:gd name="T44" fmla="*/ 228 w 371"/>
                <a:gd name="T45" fmla="*/ 45 h 465"/>
                <a:gd name="T46" fmla="*/ 214 w 371"/>
                <a:gd name="T47" fmla="*/ 76 h 465"/>
                <a:gd name="T48" fmla="*/ 179 w 371"/>
                <a:gd name="T49" fmla="*/ 67 h 465"/>
                <a:gd name="T50" fmla="*/ 179 w 371"/>
                <a:gd name="T51" fmla="*/ 81 h 465"/>
                <a:gd name="T52" fmla="*/ 161 w 371"/>
                <a:gd name="T53" fmla="*/ 125 h 465"/>
                <a:gd name="T54" fmla="*/ 147 w 371"/>
                <a:gd name="T55" fmla="*/ 143 h 465"/>
                <a:gd name="T56" fmla="*/ 147 w 371"/>
                <a:gd name="T57" fmla="*/ 157 h 465"/>
                <a:gd name="T58" fmla="*/ 134 w 371"/>
                <a:gd name="T59" fmla="*/ 166 h 465"/>
                <a:gd name="T60" fmla="*/ 121 w 371"/>
                <a:gd name="T61" fmla="*/ 192 h 465"/>
                <a:gd name="T62" fmla="*/ 98 w 371"/>
                <a:gd name="T63" fmla="*/ 233 h 465"/>
                <a:gd name="T64" fmla="*/ 89 w 371"/>
                <a:gd name="T65" fmla="*/ 255 h 465"/>
                <a:gd name="T66" fmla="*/ 76 w 371"/>
                <a:gd name="T67" fmla="*/ 277 h 465"/>
                <a:gd name="T68" fmla="*/ 67 w 371"/>
                <a:gd name="T69" fmla="*/ 295 h 465"/>
                <a:gd name="T70" fmla="*/ 40 w 371"/>
                <a:gd name="T71" fmla="*/ 309 h 465"/>
                <a:gd name="T72" fmla="*/ 4 w 371"/>
                <a:gd name="T73" fmla="*/ 358 h 465"/>
                <a:gd name="T74" fmla="*/ 13 w 371"/>
                <a:gd name="T75" fmla="*/ 376 h 465"/>
                <a:gd name="T76" fmla="*/ 0 w 371"/>
                <a:gd name="T77" fmla="*/ 425 h 465"/>
                <a:gd name="T78" fmla="*/ 27 w 371"/>
                <a:gd name="T79" fmla="*/ 452 h 465"/>
                <a:gd name="T80" fmla="*/ 49 w 371"/>
                <a:gd name="T81" fmla="*/ 456 h 465"/>
                <a:gd name="T82" fmla="*/ 71 w 371"/>
                <a:gd name="T83" fmla="*/ 425 h 465"/>
                <a:gd name="T84" fmla="*/ 89 w 371"/>
                <a:gd name="T85" fmla="*/ 429 h 465"/>
                <a:gd name="T86" fmla="*/ 125 w 371"/>
                <a:gd name="T87" fmla="*/ 125 h 465"/>
                <a:gd name="T88" fmla="*/ 134 w 371"/>
                <a:gd name="T89" fmla="*/ 116 h 465"/>
                <a:gd name="T90" fmla="*/ 112 w 371"/>
                <a:gd name="T91" fmla="*/ 139 h 465"/>
                <a:gd name="T92" fmla="*/ 161 w 371"/>
                <a:gd name="T93" fmla="*/ 94 h 465"/>
                <a:gd name="T94" fmla="*/ 156 w 371"/>
                <a:gd name="T95" fmla="*/ 90 h 465"/>
                <a:gd name="T96" fmla="*/ 138 w 371"/>
                <a:gd name="T97" fmla="*/ 90 h 465"/>
                <a:gd name="T98" fmla="*/ 138 w 371"/>
                <a:gd name="T99" fmla="*/ 108 h 465"/>
                <a:gd name="T100" fmla="*/ 192 w 371"/>
                <a:gd name="T101" fmla="*/ 67 h 465"/>
                <a:gd name="T102" fmla="*/ 205 w 371"/>
                <a:gd name="T103" fmla="*/ 58 h 465"/>
                <a:gd name="T104" fmla="*/ 192 w 371"/>
                <a:gd name="T105" fmla="*/ 54 h 465"/>
                <a:gd name="T106" fmla="*/ 192 w 371"/>
                <a:gd name="T107" fmla="*/ 67 h 465"/>
                <a:gd name="T108" fmla="*/ 255 w 371"/>
                <a:gd name="T109" fmla="*/ 36 h 465"/>
                <a:gd name="T110" fmla="*/ 264 w 371"/>
                <a:gd name="T111" fmla="*/ 14 h 465"/>
                <a:gd name="T112" fmla="*/ 241 w 371"/>
                <a:gd name="T113" fmla="*/ 27 h 46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1"/>
                <a:gd name="T172" fmla="*/ 0 h 465"/>
                <a:gd name="T173" fmla="*/ 371 w 371"/>
                <a:gd name="T174" fmla="*/ 465 h 46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1" h="465">
                  <a:moveTo>
                    <a:pt x="89" y="434"/>
                  </a:moveTo>
                  <a:lnTo>
                    <a:pt x="98" y="438"/>
                  </a:lnTo>
                  <a:lnTo>
                    <a:pt x="98" y="425"/>
                  </a:lnTo>
                  <a:lnTo>
                    <a:pt x="98" y="416"/>
                  </a:lnTo>
                  <a:lnTo>
                    <a:pt x="107" y="407"/>
                  </a:lnTo>
                  <a:lnTo>
                    <a:pt x="103" y="380"/>
                  </a:lnTo>
                  <a:lnTo>
                    <a:pt x="112" y="367"/>
                  </a:lnTo>
                  <a:lnTo>
                    <a:pt x="98" y="349"/>
                  </a:lnTo>
                  <a:lnTo>
                    <a:pt x="98" y="304"/>
                  </a:lnTo>
                  <a:lnTo>
                    <a:pt x="103" y="300"/>
                  </a:lnTo>
                  <a:lnTo>
                    <a:pt x="98" y="295"/>
                  </a:lnTo>
                  <a:lnTo>
                    <a:pt x="103" y="277"/>
                  </a:lnTo>
                  <a:lnTo>
                    <a:pt x="112" y="273"/>
                  </a:lnTo>
                  <a:lnTo>
                    <a:pt x="121" y="277"/>
                  </a:lnTo>
                  <a:lnTo>
                    <a:pt x="130" y="273"/>
                  </a:lnTo>
                  <a:lnTo>
                    <a:pt x="125" y="259"/>
                  </a:lnTo>
                  <a:lnTo>
                    <a:pt x="134" y="233"/>
                  </a:lnTo>
                  <a:lnTo>
                    <a:pt x="134" y="215"/>
                  </a:lnTo>
                  <a:lnTo>
                    <a:pt x="138" y="210"/>
                  </a:lnTo>
                  <a:lnTo>
                    <a:pt x="143" y="215"/>
                  </a:lnTo>
                  <a:lnTo>
                    <a:pt x="147" y="206"/>
                  </a:lnTo>
                  <a:lnTo>
                    <a:pt x="143" y="197"/>
                  </a:lnTo>
                  <a:lnTo>
                    <a:pt x="165" y="175"/>
                  </a:lnTo>
                  <a:lnTo>
                    <a:pt x="161" y="157"/>
                  </a:lnTo>
                  <a:lnTo>
                    <a:pt x="165" y="143"/>
                  </a:lnTo>
                  <a:lnTo>
                    <a:pt x="174" y="130"/>
                  </a:lnTo>
                  <a:lnTo>
                    <a:pt x="183" y="134"/>
                  </a:lnTo>
                  <a:lnTo>
                    <a:pt x="188" y="130"/>
                  </a:lnTo>
                  <a:lnTo>
                    <a:pt x="183" y="116"/>
                  </a:lnTo>
                  <a:lnTo>
                    <a:pt x="188" y="112"/>
                  </a:lnTo>
                  <a:lnTo>
                    <a:pt x="210" y="116"/>
                  </a:lnTo>
                  <a:lnTo>
                    <a:pt x="210" y="103"/>
                  </a:lnTo>
                  <a:lnTo>
                    <a:pt x="214" y="94"/>
                  </a:lnTo>
                  <a:lnTo>
                    <a:pt x="223" y="94"/>
                  </a:lnTo>
                  <a:lnTo>
                    <a:pt x="219" y="90"/>
                  </a:lnTo>
                  <a:lnTo>
                    <a:pt x="228" y="90"/>
                  </a:lnTo>
                  <a:lnTo>
                    <a:pt x="228" y="85"/>
                  </a:lnTo>
                  <a:lnTo>
                    <a:pt x="237" y="85"/>
                  </a:lnTo>
                  <a:lnTo>
                    <a:pt x="250" y="108"/>
                  </a:lnTo>
                  <a:lnTo>
                    <a:pt x="272" y="108"/>
                  </a:lnTo>
                  <a:lnTo>
                    <a:pt x="281" y="112"/>
                  </a:lnTo>
                  <a:lnTo>
                    <a:pt x="295" y="99"/>
                  </a:lnTo>
                  <a:lnTo>
                    <a:pt x="295" y="76"/>
                  </a:lnTo>
                  <a:lnTo>
                    <a:pt x="308" y="58"/>
                  </a:lnTo>
                  <a:lnTo>
                    <a:pt x="326" y="54"/>
                  </a:lnTo>
                  <a:lnTo>
                    <a:pt x="331" y="63"/>
                  </a:lnTo>
                  <a:lnTo>
                    <a:pt x="339" y="63"/>
                  </a:lnTo>
                  <a:lnTo>
                    <a:pt x="339" y="67"/>
                  </a:lnTo>
                  <a:lnTo>
                    <a:pt x="335" y="85"/>
                  </a:lnTo>
                  <a:lnTo>
                    <a:pt x="331" y="90"/>
                  </a:lnTo>
                  <a:lnTo>
                    <a:pt x="331" y="94"/>
                  </a:lnTo>
                  <a:lnTo>
                    <a:pt x="344" y="90"/>
                  </a:lnTo>
                  <a:lnTo>
                    <a:pt x="353" y="76"/>
                  </a:lnTo>
                  <a:lnTo>
                    <a:pt x="353" y="67"/>
                  </a:lnTo>
                  <a:lnTo>
                    <a:pt x="362" y="76"/>
                  </a:lnTo>
                  <a:lnTo>
                    <a:pt x="366" y="63"/>
                  </a:lnTo>
                  <a:lnTo>
                    <a:pt x="339" y="49"/>
                  </a:lnTo>
                  <a:lnTo>
                    <a:pt x="335" y="45"/>
                  </a:lnTo>
                  <a:lnTo>
                    <a:pt x="357" y="49"/>
                  </a:lnTo>
                  <a:lnTo>
                    <a:pt x="366" y="36"/>
                  </a:lnTo>
                  <a:lnTo>
                    <a:pt x="371" y="36"/>
                  </a:lnTo>
                  <a:lnTo>
                    <a:pt x="371" y="27"/>
                  </a:lnTo>
                  <a:lnTo>
                    <a:pt x="348" y="18"/>
                  </a:lnTo>
                  <a:lnTo>
                    <a:pt x="344" y="18"/>
                  </a:lnTo>
                  <a:lnTo>
                    <a:pt x="348" y="9"/>
                  </a:lnTo>
                  <a:lnTo>
                    <a:pt x="344" y="5"/>
                  </a:lnTo>
                  <a:lnTo>
                    <a:pt x="335" y="14"/>
                  </a:lnTo>
                  <a:lnTo>
                    <a:pt x="331" y="32"/>
                  </a:lnTo>
                  <a:lnTo>
                    <a:pt x="326" y="27"/>
                  </a:lnTo>
                  <a:lnTo>
                    <a:pt x="331" y="18"/>
                  </a:lnTo>
                  <a:lnTo>
                    <a:pt x="335" y="5"/>
                  </a:lnTo>
                  <a:lnTo>
                    <a:pt x="326" y="0"/>
                  </a:lnTo>
                  <a:lnTo>
                    <a:pt x="317" y="5"/>
                  </a:lnTo>
                  <a:lnTo>
                    <a:pt x="308" y="32"/>
                  </a:lnTo>
                  <a:lnTo>
                    <a:pt x="304" y="9"/>
                  </a:lnTo>
                  <a:lnTo>
                    <a:pt x="295" y="27"/>
                  </a:lnTo>
                  <a:lnTo>
                    <a:pt x="286" y="49"/>
                  </a:lnTo>
                  <a:lnTo>
                    <a:pt x="281" y="49"/>
                  </a:lnTo>
                  <a:lnTo>
                    <a:pt x="286" y="32"/>
                  </a:lnTo>
                  <a:lnTo>
                    <a:pt x="295" y="9"/>
                  </a:lnTo>
                  <a:lnTo>
                    <a:pt x="277" y="5"/>
                  </a:lnTo>
                  <a:lnTo>
                    <a:pt x="272" y="18"/>
                  </a:lnTo>
                  <a:lnTo>
                    <a:pt x="277" y="23"/>
                  </a:lnTo>
                  <a:lnTo>
                    <a:pt x="268" y="27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0" y="54"/>
                  </a:lnTo>
                  <a:lnTo>
                    <a:pt x="250" y="41"/>
                  </a:lnTo>
                  <a:lnTo>
                    <a:pt x="237" y="41"/>
                  </a:lnTo>
                  <a:lnTo>
                    <a:pt x="228" y="45"/>
                  </a:lnTo>
                  <a:lnTo>
                    <a:pt x="237" y="54"/>
                  </a:lnTo>
                  <a:lnTo>
                    <a:pt x="228" y="58"/>
                  </a:lnTo>
                  <a:lnTo>
                    <a:pt x="223" y="54"/>
                  </a:lnTo>
                  <a:lnTo>
                    <a:pt x="214" y="76"/>
                  </a:lnTo>
                  <a:lnTo>
                    <a:pt x="214" y="58"/>
                  </a:lnTo>
                  <a:lnTo>
                    <a:pt x="197" y="67"/>
                  </a:lnTo>
                  <a:lnTo>
                    <a:pt x="192" y="76"/>
                  </a:lnTo>
                  <a:lnTo>
                    <a:pt x="179" y="67"/>
                  </a:lnTo>
                  <a:lnTo>
                    <a:pt x="170" y="76"/>
                  </a:lnTo>
                  <a:lnTo>
                    <a:pt x="165" y="85"/>
                  </a:lnTo>
                  <a:lnTo>
                    <a:pt x="170" y="90"/>
                  </a:lnTo>
                  <a:lnTo>
                    <a:pt x="179" y="81"/>
                  </a:lnTo>
                  <a:lnTo>
                    <a:pt x="179" y="99"/>
                  </a:lnTo>
                  <a:lnTo>
                    <a:pt x="165" y="108"/>
                  </a:lnTo>
                  <a:lnTo>
                    <a:pt x="161" y="116"/>
                  </a:lnTo>
                  <a:lnTo>
                    <a:pt x="161" y="125"/>
                  </a:lnTo>
                  <a:lnTo>
                    <a:pt x="152" y="121"/>
                  </a:lnTo>
                  <a:lnTo>
                    <a:pt x="138" y="134"/>
                  </a:lnTo>
                  <a:lnTo>
                    <a:pt x="138" y="148"/>
                  </a:lnTo>
                  <a:lnTo>
                    <a:pt x="147" y="143"/>
                  </a:lnTo>
                  <a:lnTo>
                    <a:pt x="147" y="152"/>
                  </a:lnTo>
                  <a:lnTo>
                    <a:pt x="138" y="152"/>
                  </a:lnTo>
                  <a:lnTo>
                    <a:pt x="130" y="161"/>
                  </a:lnTo>
                  <a:lnTo>
                    <a:pt x="147" y="157"/>
                  </a:lnTo>
                  <a:lnTo>
                    <a:pt x="152" y="161"/>
                  </a:lnTo>
                  <a:lnTo>
                    <a:pt x="152" y="166"/>
                  </a:lnTo>
                  <a:lnTo>
                    <a:pt x="143" y="161"/>
                  </a:lnTo>
                  <a:lnTo>
                    <a:pt x="134" y="166"/>
                  </a:lnTo>
                  <a:lnTo>
                    <a:pt x="134" y="170"/>
                  </a:lnTo>
                  <a:lnTo>
                    <a:pt x="125" y="170"/>
                  </a:lnTo>
                  <a:lnTo>
                    <a:pt x="116" y="184"/>
                  </a:lnTo>
                  <a:lnTo>
                    <a:pt x="121" y="192"/>
                  </a:lnTo>
                  <a:lnTo>
                    <a:pt x="112" y="197"/>
                  </a:lnTo>
                  <a:lnTo>
                    <a:pt x="116" y="206"/>
                  </a:lnTo>
                  <a:lnTo>
                    <a:pt x="107" y="215"/>
                  </a:lnTo>
                  <a:lnTo>
                    <a:pt x="98" y="233"/>
                  </a:lnTo>
                  <a:lnTo>
                    <a:pt x="103" y="246"/>
                  </a:lnTo>
                  <a:lnTo>
                    <a:pt x="98" y="242"/>
                  </a:lnTo>
                  <a:lnTo>
                    <a:pt x="89" y="255"/>
                  </a:lnTo>
                  <a:lnTo>
                    <a:pt x="94" y="255"/>
                  </a:lnTo>
                  <a:lnTo>
                    <a:pt x="94" y="264"/>
                  </a:lnTo>
                  <a:lnTo>
                    <a:pt x="80" y="264"/>
                  </a:lnTo>
                  <a:lnTo>
                    <a:pt x="76" y="277"/>
                  </a:lnTo>
                  <a:lnTo>
                    <a:pt x="71" y="286"/>
                  </a:lnTo>
                  <a:lnTo>
                    <a:pt x="80" y="295"/>
                  </a:lnTo>
                  <a:lnTo>
                    <a:pt x="76" y="300"/>
                  </a:lnTo>
                  <a:lnTo>
                    <a:pt x="67" y="295"/>
                  </a:lnTo>
                  <a:lnTo>
                    <a:pt x="58" y="282"/>
                  </a:lnTo>
                  <a:lnTo>
                    <a:pt x="49" y="295"/>
                  </a:lnTo>
                  <a:lnTo>
                    <a:pt x="49" y="313"/>
                  </a:lnTo>
                  <a:lnTo>
                    <a:pt x="40" y="309"/>
                  </a:lnTo>
                  <a:lnTo>
                    <a:pt x="18" y="327"/>
                  </a:lnTo>
                  <a:lnTo>
                    <a:pt x="4" y="335"/>
                  </a:lnTo>
                  <a:lnTo>
                    <a:pt x="0" y="349"/>
                  </a:lnTo>
                  <a:lnTo>
                    <a:pt x="4" y="358"/>
                  </a:lnTo>
                  <a:lnTo>
                    <a:pt x="13" y="358"/>
                  </a:lnTo>
                  <a:lnTo>
                    <a:pt x="4" y="362"/>
                  </a:lnTo>
                  <a:lnTo>
                    <a:pt x="9" y="371"/>
                  </a:lnTo>
                  <a:lnTo>
                    <a:pt x="13" y="376"/>
                  </a:lnTo>
                  <a:lnTo>
                    <a:pt x="4" y="376"/>
                  </a:lnTo>
                  <a:lnTo>
                    <a:pt x="0" y="398"/>
                  </a:lnTo>
                  <a:lnTo>
                    <a:pt x="4" y="402"/>
                  </a:lnTo>
                  <a:lnTo>
                    <a:pt x="0" y="425"/>
                  </a:lnTo>
                  <a:lnTo>
                    <a:pt x="9" y="434"/>
                  </a:lnTo>
                  <a:lnTo>
                    <a:pt x="13" y="447"/>
                  </a:lnTo>
                  <a:lnTo>
                    <a:pt x="18" y="452"/>
                  </a:lnTo>
                  <a:lnTo>
                    <a:pt x="27" y="452"/>
                  </a:lnTo>
                  <a:lnTo>
                    <a:pt x="27" y="461"/>
                  </a:lnTo>
                  <a:lnTo>
                    <a:pt x="36" y="465"/>
                  </a:lnTo>
                  <a:lnTo>
                    <a:pt x="45" y="461"/>
                  </a:lnTo>
                  <a:lnTo>
                    <a:pt x="49" y="456"/>
                  </a:lnTo>
                  <a:lnTo>
                    <a:pt x="54" y="456"/>
                  </a:lnTo>
                  <a:lnTo>
                    <a:pt x="63" y="438"/>
                  </a:lnTo>
                  <a:lnTo>
                    <a:pt x="67" y="429"/>
                  </a:lnTo>
                  <a:lnTo>
                    <a:pt x="71" y="425"/>
                  </a:lnTo>
                  <a:lnTo>
                    <a:pt x="76" y="420"/>
                  </a:lnTo>
                  <a:lnTo>
                    <a:pt x="80" y="420"/>
                  </a:lnTo>
                  <a:lnTo>
                    <a:pt x="80" y="429"/>
                  </a:lnTo>
                  <a:lnTo>
                    <a:pt x="89" y="429"/>
                  </a:lnTo>
                  <a:lnTo>
                    <a:pt x="89" y="434"/>
                  </a:lnTo>
                  <a:close/>
                  <a:moveTo>
                    <a:pt x="112" y="139"/>
                  </a:moveTo>
                  <a:lnTo>
                    <a:pt x="121" y="130"/>
                  </a:lnTo>
                  <a:lnTo>
                    <a:pt x="125" y="125"/>
                  </a:lnTo>
                  <a:lnTo>
                    <a:pt x="130" y="125"/>
                  </a:lnTo>
                  <a:lnTo>
                    <a:pt x="138" y="121"/>
                  </a:lnTo>
                  <a:lnTo>
                    <a:pt x="138" y="112"/>
                  </a:lnTo>
                  <a:lnTo>
                    <a:pt x="134" y="116"/>
                  </a:lnTo>
                  <a:lnTo>
                    <a:pt x="130" y="121"/>
                  </a:lnTo>
                  <a:lnTo>
                    <a:pt x="125" y="121"/>
                  </a:lnTo>
                  <a:lnTo>
                    <a:pt x="112" y="130"/>
                  </a:lnTo>
                  <a:lnTo>
                    <a:pt x="112" y="139"/>
                  </a:lnTo>
                  <a:close/>
                  <a:moveTo>
                    <a:pt x="152" y="116"/>
                  </a:moveTo>
                  <a:lnTo>
                    <a:pt x="161" y="108"/>
                  </a:lnTo>
                  <a:lnTo>
                    <a:pt x="165" y="99"/>
                  </a:lnTo>
                  <a:lnTo>
                    <a:pt x="161" y="94"/>
                  </a:lnTo>
                  <a:lnTo>
                    <a:pt x="156" y="94"/>
                  </a:lnTo>
                  <a:lnTo>
                    <a:pt x="152" y="103"/>
                  </a:lnTo>
                  <a:lnTo>
                    <a:pt x="152" y="94"/>
                  </a:lnTo>
                  <a:lnTo>
                    <a:pt x="156" y="90"/>
                  </a:lnTo>
                  <a:lnTo>
                    <a:pt x="156" y="76"/>
                  </a:lnTo>
                  <a:lnTo>
                    <a:pt x="147" y="90"/>
                  </a:lnTo>
                  <a:lnTo>
                    <a:pt x="143" y="103"/>
                  </a:lnTo>
                  <a:lnTo>
                    <a:pt x="138" y="90"/>
                  </a:lnTo>
                  <a:lnTo>
                    <a:pt x="138" y="99"/>
                  </a:lnTo>
                  <a:lnTo>
                    <a:pt x="134" y="99"/>
                  </a:lnTo>
                  <a:lnTo>
                    <a:pt x="130" y="108"/>
                  </a:lnTo>
                  <a:lnTo>
                    <a:pt x="138" y="108"/>
                  </a:lnTo>
                  <a:lnTo>
                    <a:pt x="147" y="103"/>
                  </a:lnTo>
                  <a:lnTo>
                    <a:pt x="143" y="116"/>
                  </a:lnTo>
                  <a:lnTo>
                    <a:pt x="152" y="116"/>
                  </a:lnTo>
                  <a:close/>
                  <a:moveTo>
                    <a:pt x="192" y="67"/>
                  </a:moveTo>
                  <a:lnTo>
                    <a:pt x="197" y="63"/>
                  </a:lnTo>
                  <a:lnTo>
                    <a:pt x="201" y="58"/>
                  </a:lnTo>
                  <a:lnTo>
                    <a:pt x="205" y="58"/>
                  </a:lnTo>
                  <a:lnTo>
                    <a:pt x="210" y="49"/>
                  </a:lnTo>
                  <a:lnTo>
                    <a:pt x="205" y="54"/>
                  </a:lnTo>
                  <a:lnTo>
                    <a:pt x="201" y="49"/>
                  </a:lnTo>
                  <a:lnTo>
                    <a:pt x="192" y="54"/>
                  </a:lnTo>
                  <a:lnTo>
                    <a:pt x="192" y="63"/>
                  </a:lnTo>
                  <a:lnTo>
                    <a:pt x="188" y="58"/>
                  </a:lnTo>
                  <a:lnTo>
                    <a:pt x="183" y="67"/>
                  </a:lnTo>
                  <a:lnTo>
                    <a:pt x="192" y="67"/>
                  </a:lnTo>
                  <a:close/>
                  <a:moveTo>
                    <a:pt x="241" y="27"/>
                  </a:moveTo>
                  <a:lnTo>
                    <a:pt x="246" y="32"/>
                  </a:lnTo>
                  <a:lnTo>
                    <a:pt x="259" y="27"/>
                  </a:lnTo>
                  <a:lnTo>
                    <a:pt x="255" y="36"/>
                  </a:lnTo>
                  <a:lnTo>
                    <a:pt x="259" y="41"/>
                  </a:lnTo>
                  <a:lnTo>
                    <a:pt x="264" y="27"/>
                  </a:lnTo>
                  <a:lnTo>
                    <a:pt x="259" y="27"/>
                  </a:lnTo>
                  <a:lnTo>
                    <a:pt x="264" y="14"/>
                  </a:lnTo>
                  <a:lnTo>
                    <a:pt x="259" y="14"/>
                  </a:lnTo>
                  <a:lnTo>
                    <a:pt x="259" y="18"/>
                  </a:lnTo>
                  <a:lnTo>
                    <a:pt x="250" y="18"/>
                  </a:lnTo>
                  <a:lnTo>
                    <a:pt x="241" y="27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4" name="Freeform 226"/>
            <p:cNvSpPr>
              <a:spLocks/>
            </p:cNvSpPr>
            <p:nvPr/>
          </p:nvSpPr>
          <p:spPr bwMode="gray">
            <a:xfrm>
              <a:off x="2924" y="1818"/>
              <a:ext cx="147" cy="139"/>
            </a:xfrm>
            <a:custGeom>
              <a:avLst/>
              <a:gdLst>
                <a:gd name="T0" fmla="*/ 13 w 147"/>
                <a:gd name="T1" fmla="*/ 99 h 139"/>
                <a:gd name="T2" fmla="*/ 13 w 147"/>
                <a:gd name="T3" fmla="*/ 90 h 139"/>
                <a:gd name="T4" fmla="*/ 9 w 147"/>
                <a:gd name="T5" fmla="*/ 85 h 139"/>
                <a:gd name="T6" fmla="*/ 9 w 147"/>
                <a:gd name="T7" fmla="*/ 72 h 139"/>
                <a:gd name="T8" fmla="*/ 9 w 147"/>
                <a:gd name="T9" fmla="*/ 59 h 139"/>
                <a:gd name="T10" fmla="*/ 0 w 147"/>
                <a:gd name="T11" fmla="*/ 50 h 139"/>
                <a:gd name="T12" fmla="*/ 0 w 147"/>
                <a:gd name="T13" fmla="*/ 36 h 139"/>
                <a:gd name="T14" fmla="*/ 0 w 147"/>
                <a:gd name="T15" fmla="*/ 27 h 139"/>
                <a:gd name="T16" fmla="*/ 5 w 147"/>
                <a:gd name="T17" fmla="*/ 27 h 139"/>
                <a:gd name="T18" fmla="*/ 9 w 147"/>
                <a:gd name="T19" fmla="*/ 36 h 139"/>
                <a:gd name="T20" fmla="*/ 9 w 147"/>
                <a:gd name="T21" fmla="*/ 27 h 139"/>
                <a:gd name="T22" fmla="*/ 13 w 147"/>
                <a:gd name="T23" fmla="*/ 23 h 139"/>
                <a:gd name="T24" fmla="*/ 22 w 147"/>
                <a:gd name="T25" fmla="*/ 14 h 139"/>
                <a:gd name="T26" fmla="*/ 36 w 147"/>
                <a:gd name="T27" fmla="*/ 14 h 139"/>
                <a:gd name="T28" fmla="*/ 40 w 147"/>
                <a:gd name="T29" fmla="*/ 5 h 139"/>
                <a:gd name="T30" fmla="*/ 49 w 147"/>
                <a:gd name="T31" fmla="*/ 0 h 139"/>
                <a:gd name="T32" fmla="*/ 58 w 147"/>
                <a:gd name="T33" fmla="*/ 0 h 139"/>
                <a:gd name="T34" fmla="*/ 72 w 147"/>
                <a:gd name="T35" fmla="*/ 0 h 139"/>
                <a:gd name="T36" fmla="*/ 72 w 147"/>
                <a:gd name="T37" fmla="*/ 5 h 139"/>
                <a:gd name="T38" fmla="*/ 63 w 147"/>
                <a:gd name="T39" fmla="*/ 5 h 139"/>
                <a:gd name="T40" fmla="*/ 67 w 147"/>
                <a:gd name="T41" fmla="*/ 9 h 139"/>
                <a:gd name="T42" fmla="*/ 76 w 147"/>
                <a:gd name="T43" fmla="*/ 5 h 139"/>
                <a:gd name="T44" fmla="*/ 76 w 147"/>
                <a:gd name="T45" fmla="*/ 14 h 139"/>
                <a:gd name="T46" fmla="*/ 80 w 147"/>
                <a:gd name="T47" fmla="*/ 9 h 139"/>
                <a:gd name="T48" fmla="*/ 89 w 147"/>
                <a:gd name="T49" fmla="*/ 9 h 139"/>
                <a:gd name="T50" fmla="*/ 107 w 147"/>
                <a:gd name="T51" fmla="*/ 14 h 139"/>
                <a:gd name="T52" fmla="*/ 130 w 147"/>
                <a:gd name="T53" fmla="*/ 14 h 139"/>
                <a:gd name="T54" fmla="*/ 139 w 147"/>
                <a:gd name="T55" fmla="*/ 23 h 139"/>
                <a:gd name="T56" fmla="*/ 139 w 147"/>
                <a:gd name="T57" fmla="*/ 27 h 139"/>
                <a:gd name="T58" fmla="*/ 143 w 147"/>
                <a:gd name="T59" fmla="*/ 41 h 139"/>
                <a:gd name="T60" fmla="*/ 147 w 147"/>
                <a:gd name="T61" fmla="*/ 50 h 139"/>
                <a:gd name="T62" fmla="*/ 147 w 147"/>
                <a:gd name="T63" fmla="*/ 59 h 139"/>
                <a:gd name="T64" fmla="*/ 134 w 147"/>
                <a:gd name="T65" fmla="*/ 63 h 139"/>
                <a:gd name="T66" fmla="*/ 139 w 147"/>
                <a:gd name="T67" fmla="*/ 72 h 139"/>
                <a:gd name="T68" fmla="*/ 139 w 147"/>
                <a:gd name="T69" fmla="*/ 81 h 139"/>
                <a:gd name="T70" fmla="*/ 139 w 147"/>
                <a:gd name="T71" fmla="*/ 85 h 139"/>
                <a:gd name="T72" fmla="*/ 143 w 147"/>
                <a:gd name="T73" fmla="*/ 99 h 139"/>
                <a:gd name="T74" fmla="*/ 143 w 147"/>
                <a:gd name="T75" fmla="*/ 108 h 139"/>
                <a:gd name="T76" fmla="*/ 147 w 147"/>
                <a:gd name="T77" fmla="*/ 112 h 139"/>
                <a:gd name="T78" fmla="*/ 143 w 147"/>
                <a:gd name="T79" fmla="*/ 117 h 139"/>
                <a:gd name="T80" fmla="*/ 134 w 147"/>
                <a:gd name="T81" fmla="*/ 121 h 139"/>
                <a:gd name="T82" fmla="*/ 125 w 147"/>
                <a:gd name="T83" fmla="*/ 135 h 139"/>
                <a:gd name="T84" fmla="*/ 130 w 147"/>
                <a:gd name="T85" fmla="*/ 139 h 139"/>
                <a:gd name="T86" fmla="*/ 125 w 147"/>
                <a:gd name="T87" fmla="*/ 139 h 139"/>
                <a:gd name="T88" fmla="*/ 112 w 147"/>
                <a:gd name="T89" fmla="*/ 130 h 139"/>
                <a:gd name="T90" fmla="*/ 98 w 147"/>
                <a:gd name="T91" fmla="*/ 135 h 139"/>
                <a:gd name="T92" fmla="*/ 94 w 147"/>
                <a:gd name="T93" fmla="*/ 130 h 139"/>
                <a:gd name="T94" fmla="*/ 89 w 147"/>
                <a:gd name="T95" fmla="*/ 139 h 139"/>
                <a:gd name="T96" fmla="*/ 80 w 147"/>
                <a:gd name="T97" fmla="*/ 130 h 139"/>
                <a:gd name="T98" fmla="*/ 72 w 147"/>
                <a:gd name="T99" fmla="*/ 135 h 139"/>
                <a:gd name="T100" fmla="*/ 67 w 147"/>
                <a:gd name="T101" fmla="*/ 130 h 139"/>
                <a:gd name="T102" fmla="*/ 67 w 147"/>
                <a:gd name="T103" fmla="*/ 121 h 139"/>
                <a:gd name="T104" fmla="*/ 58 w 147"/>
                <a:gd name="T105" fmla="*/ 121 h 139"/>
                <a:gd name="T106" fmla="*/ 54 w 147"/>
                <a:gd name="T107" fmla="*/ 112 h 139"/>
                <a:gd name="T108" fmla="*/ 45 w 147"/>
                <a:gd name="T109" fmla="*/ 108 h 139"/>
                <a:gd name="T110" fmla="*/ 40 w 147"/>
                <a:gd name="T111" fmla="*/ 117 h 139"/>
                <a:gd name="T112" fmla="*/ 31 w 147"/>
                <a:gd name="T113" fmla="*/ 112 h 139"/>
                <a:gd name="T114" fmla="*/ 36 w 147"/>
                <a:gd name="T115" fmla="*/ 108 h 139"/>
                <a:gd name="T116" fmla="*/ 27 w 147"/>
                <a:gd name="T117" fmla="*/ 108 h 139"/>
                <a:gd name="T118" fmla="*/ 22 w 147"/>
                <a:gd name="T119" fmla="*/ 99 h 139"/>
                <a:gd name="T120" fmla="*/ 18 w 147"/>
                <a:gd name="T121" fmla="*/ 103 h 139"/>
                <a:gd name="T122" fmla="*/ 13 w 147"/>
                <a:gd name="T123" fmla="*/ 99 h 13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7"/>
                <a:gd name="T187" fmla="*/ 0 h 139"/>
                <a:gd name="T188" fmla="*/ 147 w 147"/>
                <a:gd name="T189" fmla="*/ 139 h 13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7" h="139">
                  <a:moveTo>
                    <a:pt x="13" y="99"/>
                  </a:moveTo>
                  <a:lnTo>
                    <a:pt x="13" y="90"/>
                  </a:lnTo>
                  <a:lnTo>
                    <a:pt x="9" y="85"/>
                  </a:lnTo>
                  <a:lnTo>
                    <a:pt x="9" y="72"/>
                  </a:lnTo>
                  <a:lnTo>
                    <a:pt x="9" y="59"/>
                  </a:lnTo>
                  <a:lnTo>
                    <a:pt x="0" y="50"/>
                  </a:lnTo>
                  <a:lnTo>
                    <a:pt x="0" y="36"/>
                  </a:lnTo>
                  <a:lnTo>
                    <a:pt x="0" y="27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22" y="14"/>
                  </a:lnTo>
                  <a:lnTo>
                    <a:pt x="36" y="14"/>
                  </a:lnTo>
                  <a:lnTo>
                    <a:pt x="40" y="5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0"/>
                  </a:lnTo>
                  <a:lnTo>
                    <a:pt x="72" y="5"/>
                  </a:lnTo>
                  <a:lnTo>
                    <a:pt x="63" y="5"/>
                  </a:lnTo>
                  <a:lnTo>
                    <a:pt x="67" y="9"/>
                  </a:lnTo>
                  <a:lnTo>
                    <a:pt x="76" y="5"/>
                  </a:lnTo>
                  <a:lnTo>
                    <a:pt x="76" y="14"/>
                  </a:lnTo>
                  <a:lnTo>
                    <a:pt x="80" y="9"/>
                  </a:lnTo>
                  <a:lnTo>
                    <a:pt x="89" y="9"/>
                  </a:lnTo>
                  <a:lnTo>
                    <a:pt x="107" y="14"/>
                  </a:lnTo>
                  <a:lnTo>
                    <a:pt x="130" y="14"/>
                  </a:lnTo>
                  <a:lnTo>
                    <a:pt x="139" y="23"/>
                  </a:lnTo>
                  <a:lnTo>
                    <a:pt x="139" y="27"/>
                  </a:lnTo>
                  <a:lnTo>
                    <a:pt x="143" y="41"/>
                  </a:lnTo>
                  <a:lnTo>
                    <a:pt x="147" y="50"/>
                  </a:lnTo>
                  <a:lnTo>
                    <a:pt x="147" y="59"/>
                  </a:lnTo>
                  <a:lnTo>
                    <a:pt x="134" y="63"/>
                  </a:lnTo>
                  <a:lnTo>
                    <a:pt x="139" y="72"/>
                  </a:lnTo>
                  <a:lnTo>
                    <a:pt x="139" y="81"/>
                  </a:lnTo>
                  <a:lnTo>
                    <a:pt x="139" y="85"/>
                  </a:lnTo>
                  <a:lnTo>
                    <a:pt x="143" y="99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3" y="117"/>
                  </a:lnTo>
                  <a:lnTo>
                    <a:pt x="134" y="121"/>
                  </a:lnTo>
                  <a:lnTo>
                    <a:pt x="125" y="135"/>
                  </a:lnTo>
                  <a:lnTo>
                    <a:pt x="130" y="139"/>
                  </a:lnTo>
                  <a:lnTo>
                    <a:pt x="125" y="139"/>
                  </a:lnTo>
                  <a:lnTo>
                    <a:pt x="112" y="130"/>
                  </a:lnTo>
                  <a:lnTo>
                    <a:pt x="98" y="135"/>
                  </a:lnTo>
                  <a:lnTo>
                    <a:pt x="94" y="130"/>
                  </a:lnTo>
                  <a:lnTo>
                    <a:pt x="89" y="139"/>
                  </a:lnTo>
                  <a:lnTo>
                    <a:pt x="80" y="130"/>
                  </a:lnTo>
                  <a:lnTo>
                    <a:pt x="72" y="135"/>
                  </a:lnTo>
                  <a:lnTo>
                    <a:pt x="67" y="130"/>
                  </a:lnTo>
                  <a:lnTo>
                    <a:pt x="67" y="121"/>
                  </a:lnTo>
                  <a:lnTo>
                    <a:pt x="58" y="121"/>
                  </a:lnTo>
                  <a:lnTo>
                    <a:pt x="54" y="112"/>
                  </a:lnTo>
                  <a:lnTo>
                    <a:pt x="45" y="108"/>
                  </a:lnTo>
                  <a:lnTo>
                    <a:pt x="40" y="117"/>
                  </a:lnTo>
                  <a:lnTo>
                    <a:pt x="31" y="112"/>
                  </a:lnTo>
                  <a:lnTo>
                    <a:pt x="36" y="108"/>
                  </a:lnTo>
                  <a:lnTo>
                    <a:pt x="27" y="108"/>
                  </a:lnTo>
                  <a:lnTo>
                    <a:pt x="22" y="99"/>
                  </a:lnTo>
                  <a:lnTo>
                    <a:pt x="18" y="103"/>
                  </a:lnTo>
                  <a:lnTo>
                    <a:pt x="13" y="99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5" name="Freeform 227"/>
            <p:cNvSpPr>
              <a:spLocks noEditPoints="1"/>
            </p:cNvSpPr>
            <p:nvPr/>
          </p:nvSpPr>
          <p:spPr bwMode="gray">
            <a:xfrm>
              <a:off x="2482" y="2100"/>
              <a:ext cx="161" cy="179"/>
            </a:xfrm>
            <a:custGeom>
              <a:avLst/>
              <a:gdLst>
                <a:gd name="T0" fmla="*/ 0 w 161"/>
                <a:gd name="T1" fmla="*/ 174 h 179"/>
                <a:gd name="T2" fmla="*/ 0 w 161"/>
                <a:gd name="T3" fmla="*/ 179 h 179"/>
                <a:gd name="T4" fmla="*/ 9 w 161"/>
                <a:gd name="T5" fmla="*/ 179 h 179"/>
                <a:gd name="T6" fmla="*/ 9 w 161"/>
                <a:gd name="T7" fmla="*/ 174 h 179"/>
                <a:gd name="T8" fmla="*/ 0 w 161"/>
                <a:gd name="T9" fmla="*/ 174 h 179"/>
                <a:gd name="T10" fmla="*/ 120 w 161"/>
                <a:gd name="T11" fmla="*/ 4 h 179"/>
                <a:gd name="T12" fmla="*/ 120 w 161"/>
                <a:gd name="T13" fmla="*/ 13 h 179"/>
                <a:gd name="T14" fmla="*/ 120 w 161"/>
                <a:gd name="T15" fmla="*/ 27 h 179"/>
                <a:gd name="T16" fmla="*/ 120 w 161"/>
                <a:gd name="T17" fmla="*/ 31 h 179"/>
                <a:gd name="T18" fmla="*/ 120 w 161"/>
                <a:gd name="T19" fmla="*/ 31 h 179"/>
                <a:gd name="T20" fmla="*/ 120 w 161"/>
                <a:gd name="T21" fmla="*/ 40 h 179"/>
                <a:gd name="T22" fmla="*/ 116 w 161"/>
                <a:gd name="T23" fmla="*/ 54 h 179"/>
                <a:gd name="T24" fmla="*/ 112 w 161"/>
                <a:gd name="T25" fmla="*/ 58 h 179"/>
                <a:gd name="T26" fmla="*/ 112 w 161"/>
                <a:gd name="T27" fmla="*/ 67 h 179"/>
                <a:gd name="T28" fmla="*/ 116 w 161"/>
                <a:gd name="T29" fmla="*/ 72 h 179"/>
                <a:gd name="T30" fmla="*/ 116 w 161"/>
                <a:gd name="T31" fmla="*/ 72 h 179"/>
                <a:gd name="T32" fmla="*/ 116 w 161"/>
                <a:gd name="T33" fmla="*/ 76 h 179"/>
                <a:gd name="T34" fmla="*/ 120 w 161"/>
                <a:gd name="T35" fmla="*/ 80 h 179"/>
                <a:gd name="T36" fmla="*/ 120 w 161"/>
                <a:gd name="T37" fmla="*/ 89 h 179"/>
                <a:gd name="T38" fmla="*/ 120 w 161"/>
                <a:gd name="T39" fmla="*/ 98 h 179"/>
                <a:gd name="T40" fmla="*/ 120 w 161"/>
                <a:gd name="T41" fmla="*/ 98 h 179"/>
                <a:gd name="T42" fmla="*/ 125 w 161"/>
                <a:gd name="T43" fmla="*/ 94 h 179"/>
                <a:gd name="T44" fmla="*/ 134 w 161"/>
                <a:gd name="T45" fmla="*/ 98 h 179"/>
                <a:gd name="T46" fmla="*/ 138 w 161"/>
                <a:gd name="T47" fmla="*/ 98 h 179"/>
                <a:gd name="T48" fmla="*/ 143 w 161"/>
                <a:gd name="T49" fmla="*/ 94 h 179"/>
                <a:gd name="T50" fmla="*/ 143 w 161"/>
                <a:gd name="T51" fmla="*/ 85 h 179"/>
                <a:gd name="T52" fmla="*/ 147 w 161"/>
                <a:gd name="T53" fmla="*/ 85 h 179"/>
                <a:gd name="T54" fmla="*/ 143 w 161"/>
                <a:gd name="T55" fmla="*/ 76 h 179"/>
                <a:gd name="T56" fmla="*/ 147 w 161"/>
                <a:gd name="T57" fmla="*/ 67 h 179"/>
                <a:gd name="T58" fmla="*/ 138 w 161"/>
                <a:gd name="T59" fmla="*/ 54 h 179"/>
                <a:gd name="T60" fmla="*/ 147 w 161"/>
                <a:gd name="T61" fmla="*/ 49 h 179"/>
                <a:gd name="T62" fmla="*/ 147 w 161"/>
                <a:gd name="T63" fmla="*/ 40 h 179"/>
                <a:gd name="T64" fmla="*/ 147 w 161"/>
                <a:gd name="T65" fmla="*/ 36 h 179"/>
                <a:gd name="T66" fmla="*/ 152 w 161"/>
                <a:gd name="T67" fmla="*/ 22 h 179"/>
                <a:gd name="T68" fmla="*/ 161 w 161"/>
                <a:gd name="T69" fmla="*/ 13 h 179"/>
                <a:gd name="T70" fmla="*/ 152 w 161"/>
                <a:gd name="T71" fmla="*/ 9 h 179"/>
                <a:gd name="T72" fmla="*/ 134 w 161"/>
                <a:gd name="T73" fmla="*/ 9 h 179"/>
                <a:gd name="T74" fmla="*/ 129 w 161"/>
                <a:gd name="T75" fmla="*/ 0 h 179"/>
                <a:gd name="T76" fmla="*/ 120 w 161"/>
                <a:gd name="T77" fmla="*/ 4 h 17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1"/>
                <a:gd name="T118" fmla="*/ 0 h 179"/>
                <a:gd name="T119" fmla="*/ 161 w 161"/>
                <a:gd name="T120" fmla="*/ 179 h 17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1" h="179">
                  <a:moveTo>
                    <a:pt x="0" y="174"/>
                  </a:moveTo>
                  <a:lnTo>
                    <a:pt x="0" y="179"/>
                  </a:lnTo>
                  <a:lnTo>
                    <a:pt x="9" y="179"/>
                  </a:lnTo>
                  <a:lnTo>
                    <a:pt x="9" y="174"/>
                  </a:lnTo>
                  <a:lnTo>
                    <a:pt x="0" y="174"/>
                  </a:lnTo>
                  <a:close/>
                  <a:moveTo>
                    <a:pt x="120" y="4"/>
                  </a:moveTo>
                  <a:lnTo>
                    <a:pt x="120" y="13"/>
                  </a:lnTo>
                  <a:lnTo>
                    <a:pt x="120" y="27"/>
                  </a:lnTo>
                  <a:lnTo>
                    <a:pt x="120" y="31"/>
                  </a:lnTo>
                  <a:lnTo>
                    <a:pt x="120" y="40"/>
                  </a:lnTo>
                  <a:lnTo>
                    <a:pt x="116" y="54"/>
                  </a:lnTo>
                  <a:lnTo>
                    <a:pt x="112" y="58"/>
                  </a:lnTo>
                  <a:lnTo>
                    <a:pt x="112" y="67"/>
                  </a:lnTo>
                  <a:lnTo>
                    <a:pt x="116" y="72"/>
                  </a:lnTo>
                  <a:lnTo>
                    <a:pt x="116" y="76"/>
                  </a:lnTo>
                  <a:lnTo>
                    <a:pt x="120" y="80"/>
                  </a:lnTo>
                  <a:lnTo>
                    <a:pt x="120" y="89"/>
                  </a:lnTo>
                  <a:lnTo>
                    <a:pt x="120" y="98"/>
                  </a:lnTo>
                  <a:lnTo>
                    <a:pt x="125" y="94"/>
                  </a:lnTo>
                  <a:lnTo>
                    <a:pt x="134" y="98"/>
                  </a:lnTo>
                  <a:lnTo>
                    <a:pt x="138" y="98"/>
                  </a:lnTo>
                  <a:lnTo>
                    <a:pt x="143" y="94"/>
                  </a:lnTo>
                  <a:lnTo>
                    <a:pt x="143" y="85"/>
                  </a:lnTo>
                  <a:lnTo>
                    <a:pt x="147" y="85"/>
                  </a:lnTo>
                  <a:lnTo>
                    <a:pt x="143" y="76"/>
                  </a:lnTo>
                  <a:lnTo>
                    <a:pt x="147" y="67"/>
                  </a:lnTo>
                  <a:lnTo>
                    <a:pt x="138" y="54"/>
                  </a:lnTo>
                  <a:lnTo>
                    <a:pt x="147" y="49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52" y="22"/>
                  </a:lnTo>
                  <a:lnTo>
                    <a:pt x="161" y="13"/>
                  </a:lnTo>
                  <a:lnTo>
                    <a:pt x="152" y="9"/>
                  </a:lnTo>
                  <a:lnTo>
                    <a:pt x="134" y="9"/>
                  </a:lnTo>
                  <a:lnTo>
                    <a:pt x="129" y="0"/>
                  </a:lnTo>
                  <a:lnTo>
                    <a:pt x="120" y="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6" name="Freeform 228"/>
            <p:cNvSpPr>
              <a:spLocks/>
            </p:cNvSpPr>
            <p:nvPr/>
          </p:nvSpPr>
          <p:spPr bwMode="gray">
            <a:xfrm>
              <a:off x="3018" y="1975"/>
              <a:ext cx="129" cy="98"/>
            </a:xfrm>
            <a:custGeom>
              <a:avLst/>
              <a:gdLst>
                <a:gd name="T0" fmla="*/ 0 w 129"/>
                <a:gd name="T1" fmla="*/ 45 h 98"/>
                <a:gd name="T2" fmla="*/ 4 w 129"/>
                <a:gd name="T3" fmla="*/ 54 h 98"/>
                <a:gd name="T4" fmla="*/ 4 w 129"/>
                <a:gd name="T5" fmla="*/ 62 h 98"/>
                <a:gd name="T6" fmla="*/ 13 w 129"/>
                <a:gd name="T7" fmla="*/ 71 h 98"/>
                <a:gd name="T8" fmla="*/ 22 w 129"/>
                <a:gd name="T9" fmla="*/ 76 h 98"/>
                <a:gd name="T10" fmla="*/ 27 w 129"/>
                <a:gd name="T11" fmla="*/ 76 h 98"/>
                <a:gd name="T12" fmla="*/ 27 w 129"/>
                <a:gd name="T13" fmla="*/ 80 h 98"/>
                <a:gd name="T14" fmla="*/ 31 w 129"/>
                <a:gd name="T15" fmla="*/ 80 h 98"/>
                <a:gd name="T16" fmla="*/ 36 w 129"/>
                <a:gd name="T17" fmla="*/ 80 h 98"/>
                <a:gd name="T18" fmla="*/ 36 w 129"/>
                <a:gd name="T19" fmla="*/ 89 h 98"/>
                <a:gd name="T20" fmla="*/ 49 w 129"/>
                <a:gd name="T21" fmla="*/ 94 h 98"/>
                <a:gd name="T22" fmla="*/ 62 w 129"/>
                <a:gd name="T23" fmla="*/ 98 h 98"/>
                <a:gd name="T24" fmla="*/ 76 w 129"/>
                <a:gd name="T25" fmla="*/ 98 h 98"/>
                <a:gd name="T26" fmla="*/ 85 w 129"/>
                <a:gd name="T27" fmla="*/ 89 h 98"/>
                <a:gd name="T28" fmla="*/ 98 w 129"/>
                <a:gd name="T29" fmla="*/ 85 h 98"/>
                <a:gd name="T30" fmla="*/ 116 w 129"/>
                <a:gd name="T31" fmla="*/ 94 h 98"/>
                <a:gd name="T32" fmla="*/ 116 w 129"/>
                <a:gd name="T33" fmla="*/ 85 h 98"/>
                <a:gd name="T34" fmla="*/ 120 w 129"/>
                <a:gd name="T35" fmla="*/ 80 h 98"/>
                <a:gd name="T36" fmla="*/ 120 w 129"/>
                <a:gd name="T37" fmla="*/ 67 h 98"/>
                <a:gd name="T38" fmla="*/ 120 w 129"/>
                <a:gd name="T39" fmla="*/ 71 h 98"/>
                <a:gd name="T40" fmla="*/ 129 w 129"/>
                <a:gd name="T41" fmla="*/ 71 h 98"/>
                <a:gd name="T42" fmla="*/ 129 w 129"/>
                <a:gd name="T43" fmla="*/ 62 h 98"/>
                <a:gd name="T44" fmla="*/ 125 w 129"/>
                <a:gd name="T45" fmla="*/ 62 h 98"/>
                <a:gd name="T46" fmla="*/ 116 w 129"/>
                <a:gd name="T47" fmla="*/ 67 h 98"/>
                <a:gd name="T48" fmla="*/ 112 w 129"/>
                <a:gd name="T49" fmla="*/ 62 h 98"/>
                <a:gd name="T50" fmla="*/ 107 w 129"/>
                <a:gd name="T51" fmla="*/ 58 h 98"/>
                <a:gd name="T52" fmla="*/ 112 w 129"/>
                <a:gd name="T53" fmla="*/ 40 h 98"/>
                <a:gd name="T54" fmla="*/ 107 w 129"/>
                <a:gd name="T55" fmla="*/ 27 h 98"/>
                <a:gd name="T56" fmla="*/ 103 w 129"/>
                <a:gd name="T57" fmla="*/ 18 h 98"/>
                <a:gd name="T58" fmla="*/ 89 w 129"/>
                <a:gd name="T59" fmla="*/ 0 h 98"/>
                <a:gd name="T60" fmla="*/ 67 w 129"/>
                <a:gd name="T61" fmla="*/ 9 h 98"/>
                <a:gd name="T62" fmla="*/ 40 w 129"/>
                <a:gd name="T63" fmla="*/ 4 h 98"/>
                <a:gd name="T64" fmla="*/ 36 w 129"/>
                <a:gd name="T65" fmla="*/ 9 h 98"/>
                <a:gd name="T66" fmla="*/ 36 w 129"/>
                <a:gd name="T67" fmla="*/ 13 h 98"/>
                <a:gd name="T68" fmla="*/ 22 w 129"/>
                <a:gd name="T69" fmla="*/ 18 h 98"/>
                <a:gd name="T70" fmla="*/ 13 w 129"/>
                <a:gd name="T71" fmla="*/ 36 h 98"/>
                <a:gd name="T72" fmla="*/ 13 w 129"/>
                <a:gd name="T73" fmla="*/ 40 h 98"/>
                <a:gd name="T74" fmla="*/ 4 w 129"/>
                <a:gd name="T75" fmla="*/ 45 h 98"/>
                <a:gd name="T76" fmla="*/ 0 w 129"/>
                <a:gd name="T77" fmla="*/ 45 h 9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9"/>
                <a:gd name="T118" fmla="*/ 0 h 98"/>
                <a:gd name="T119" fmla="*/ 129 w 129"/>
                <a:gd name="T120" fmla="*/ 98 h 9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9" h="98">
                  <a:moveTo>
                    <a:pt x="0" y="45"/>
                  </a:moveTo>
                  <a:lnTo>
                    <a:pt x="4" y="54"/>
                  </a:lnTo>
                  <a:lnTo>
                    <a:pt x="4" y="62"/>
                  </a:lnTo>
                  <a:lnTo>
                    <a:pt x="13" y="71"/>
                  </a:lnTo>
                  <a:lnTo>
                    <a:pt x="22" y="76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31" y="80"/>
                  </a:lnTo>
                  <a:lnTo>
                    <a:pt x="36" y="80"/>
                  </a:lnTo>
                  <a:lnTo>
                    <a:pt x="36" y="89"/>
                  </a:lnTo>
                  <a:lnTo>
                    <a:pt x="49" y="94"/>
                  </a:lnTo>
                  <a:lnTo>
                    <a:pt x="62" y="98"/>
                  </a:lnTo>
                  <a:lnTo>
                    <a:pt x="76" y="98"/>
                  </a:lnTo>
                  <a:lnTo>
                    <a:pt x="85" y="89"/>
                  </a:lnTo>
                  <a:lnTo>
                    <a:pt x="98" y="85"/>
                  </a:lnTo>
                  <a:lnTo>
                    <a:pt x="116" y="94"/>
                  </a:lnTo>
                  <a:lnTo>
                    <a:pt x="116" y="85"/>
                  </a:lnTo>
                  <a:lnTo>
                    <a:pt x="120" y="80"/>
                  </a:lnTo>
                  <a:lnTo>
                    <a:pt x="120" y="67"/>
                  </a:lnTo>
                  <a:lnTo>
                    <a:pt x="120" y="71"/>
                  </a:lnTo>
                  <a:lnTo>
                    <a:pt x="129" y="71"/>
                  </a:lnTo>
                  <a:lnTo>
                    <a:pt x="129" y="62"/>
                  </a:lnTo>
                  <a:lnTo>
                    <a:pt x="125" y="62"/>
                  </a:lnTo>
                  <a:lnTo>
                    <a:pt x="116" y="67"/>
                  </a:lnTo>
                  <a:lnTo>
                    <a:pt x="112" y="62"/>
                  </a:lnTo>
                  <a:lnTo>
                    <a:pt x="107" y="58"/>
                  </a:lnTo>
                  <a:lnTo>
                    <a:pt x="112" y="40"/>
                  </a:lnTo>
                  <a:lnTo>
                    <a:pt x="107" y="27"/>
                  </a:lnTo>
                  <a:lnTo>
                    <a:pt x="103" y="18"/>
                  </a:lnTo>
                  <a:lnTo>
                    <a:pt x="89" y="0"/>
                  </a:lnTo>
                  <a:lnTo>
                    <a:pt x="67" y="9"/>
                  </a:lnTo>
                  <a:lnTo>
                    <a:pt x="40" y="4"/>
                  </a:lnTo>
                  <a:lnTo>
                    <a:pt x="36" y="9"/>
                  </a:lnTo>
                  <a:lnTo>
                    <a:pt x="36" y="13"/>
                  </a:lnTo>
                  <a:lnTo>
                    <a:pt x="22" y="18"/>
                  </a:lnTo>
                  <a:lnTo>
                    <a:pt x="13" y="36"/>
                  </a:lnTo>
                  <a:lnTo>
                    <a:pt x="13" y="40"/>
                  </a:lnTo>
                  <a:lnTo>
                    <a:pt x="4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7" name="Freeform 229"/>
            <p:cNvSpPr>
              <a:spLocks/>
            </p:cNvSpPr>
            <p:nvPr/>
          </p:nvSpPr>
          <p:spPr bwMode="gray">
            <a:xfrm>
              <a:off x="2964" y="1948"/>
              <a:ext cx="85" cy="31"/>
            </a:xfrm>
            <a:custGeom>
              <a:avLst/>
              <a:gdLst>
                <a:gd name="T0" fmla="*/ 0 w 85"/>
                <a:gd name="T1" fmla="*/ 22 h 31"/>
                <a:gd name="T2" fmla="*/ 5 w 85"/>
                <a:gd name="T3" fmla="*/ 18 h 31"/>
                <a:gd name="T4" fmla="*/ 14 w 85"/>
                <a:gd name="T5" fmla="*/ 18 h 31"/>
                <a:gd name="T6" fmla="*/ 18 w 85"/>
                <a:gd name="T7" fmla="*/ 13 h 31"/>
                <a:gd name="T8" fmla="*/ 23 w 85"/>
                <a:gd name="T9" fmla="*/ 5 h 31"/>
                <a:gd name="T10" fmla="*/ 27 w 85"/>
                <a:gd name="T11" fmla="*/ 0 h 31"/>
                <a:gd name="T12" fmla="*/ 32 w 85"/>
                <a:gd name="T13" fmla="*/ 5 h 31"/>
                <a:gd name="T14" fmla="*/ 40 w 85"/>
                <a:gd name="T15" fmla="*/ 0 h 31"/>
                <a:gd name="T16" fmla="*/ 49 w 85"/>
                <a:gd name="T17" fmla="*/ 9 h 31"/>
                <a:gd name="T18" fmla="*/ 54 w 85"/>
                <a:gd name="T19" fmla="*/ 0 h 31"/>
                <a:gd name="T20" fmla="*/ 58 w 85"/>
                <a:gd name="T21" fmla="*/ 5 h 31"/>
                <a:gd name="T22" fmla="*/ 72 w 85"/>
                <a:gd name="T23" fmla="*/ 0 h 31"/>
                <a:gd name="T24" fmla="*/ 85 w 85"/>
                <a:gd name="T25" fmla="*/ 9 h 31"/>
                <a:gd name="T26" fmla="*/ 81 w 85"/>
                <a:gd name="T27" fmla="*/ 22 h 31"/>
                <a:gd name="T28" fmla="*/ 72 w 85"/>
                <a:gd name="T29" fmla="*/ 22 h 31"/>
                <a:gd name="T30" fmla="*/ 67 w 85"/>
                <a:gd name="T31" fmla="*/ 18 h 31"/>
                <a:gd name="T32" fmla="*/ 63 w 85"/>
                <a:gd name="T33" fmla="*/ 22 h 31"/>
                <a:gd name="T34" fmla="*/ 54 w 85"/>
                <a:gd name="T35" fmla="*/ 18 h 31"/>
                <a:gd name="T36" fmla="*/ 45 w 85"/>
                <a:gd name="T37" fmla="*/ 27 h 31"/>
                <a:gd name="T38" fmla="*/ 36 w 85"/>
                <a:gd name="T39" fmla="*/ 27 h 31"/>
                <a:gd name="T40" fmla="*/ 32 w 85"/>
                <a:gd name="T41" fmla="*/ 31 h 31"/>
                <a:gd name="T42" fmla="*/ 14 w 85"/>
                <a:gd name="T43" fmla="*/ 31 h 31"/>
                <a:gd name="T44" fmla="*/ 9 w 85"/>
                <a:gd name="T45" fmla="*/ 27 h 31"/>
                <a:gd name="T46" fmla="*/ 9 w 85"/>
                <a:gd name="T47" fmla="*/ 22 h 31"/>
                <a:gd name="T48" fmla="*/ 5 w 85"/>
                <a:gd name="T49" fmla="*/ 22 h 31"/>
                <a:gd name="T50" fmla="*/ 0 w 85"/>
                <a:gd name="T51" fmla="*/ 22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5"/>
                <a:gd name="T79" fmla="*/ 0 h 31"/>
                <a:gd name="T80" fmla="*/ 85 w 85"/>
                <a:gd name="T81" fmla="*/ 31 h 3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5" h="31">
                  <a:moveTo>
                    <a:pt x="0" y="22"/>
                  </a:moveTo>
                  <a:lnTo>
                    <a:pt x="5" y="18"/>
                  </a:lnTo>
                  <a:lnTo>
                    <a:pt x="14" y="18"/>
                  </a:lnTo>
                  <a:lnTo>
                    <a:pt x="18" y="13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2" y="5"/>
                  </a:lnTo>
                  <a:lnTo>
                    <a:pt x="40" y="0"/>
                  </a:lnTo>
                  <a:lnTo>
                    <a:pt x="49" y="9"/>
                  </a:lnTo>
                  <a:lnTo>
                    <a:pt x="54" y="0"/>
                  </a:lnTo>
                  <a:lnTo>
                    <a:pt x="58" y="5"/>
                  </a:lnTo>
                  <a:lnTo>
                    <a:pt x="72" y="0"/>
                  </a:lnTo>
                  <a:lnTo>
                    <a:pt x="85" y="9"/>
                  </a:lnTo>
                  <a:lnTo>
                    <a:pt x="81" y="22"/>
                  </a:lnTo>
                  <a:lnTo>
                    <a:pt x="72" y="22"/>
                  </a:lnTo>
                  <a:lnTo>
                    <a:pt x="67" y="18"/>
                  </a:lnTo>
                  <a:lnTo>
                    <a:pt x="63" y="22"/>
                  </a:lnTo>
                  <a:lnTo>
                    <a:pt x="54" y="18"/>
                  </a:lnTo>
                  <a:lnTo>
                    <a:pt x="45" y="27"/>
                  </a:lnTo>
                  <a:lnTo>
                    <a:pt x="36" y="27"/>
                  </a:lnTo>
                  <a:lnTo>
                    <a:pt x="32" y="31"/>
                  </a:lnTo>
                  <a:lnTo>
                    <a:pt x="14" y="31"/>
                  </a:lnTo>
                  <a:lnTo>
                    <a:pt x="9" y="27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8" name="Freeform 230"/>
            <p:cNvSpPr>
              <a:spLocks/>
            </p:cNvSpPr>
            <p:nvPr/>
          </p:nvSpPr>
          <p:spPr bwMode="gray">
            <a:xfrm>
              <a:off x="2915" y="2006"/>
              <a:ext cx="45" cy="27"/>
            </a:xfrm>
            <a:custGeom>
              <a:avLst/>
              <a:gdLst>
                <a:gd name="T0" fmla="*/ 5 w 45"/>
                <a:gd name="T1" fmla="*/ 27 h 27"/>
                <a:gd name="T2" fmla="*/ 5 w 45"/>
                <a:gd name="T3" fmla="*/ 27 h 27"/>
                <a:gd name="T4" fmla="*/ 5 w 45"/>
                <a:gd name="T5" fmla="*/ 27 h 27"/>
                <a:gd name="T6" fmla="*/ 14 w 45"/>
                <a:gd name="T7" fmla="*/ 27 h 27"/>
                <a:gd name="T8" fmla="*/ 14 w 45"/>
                <a:gd name="T9" fmla="*/ 27 h 27"/>
                <a:gd name="T10" fmla="*/ 18 w 45"/>
                <a:gd name="T11" fmla="*/ 23 h 27"/>
                <a:gd name="T12" fmla="*/ 22 w 45"/>
                <a:gd name="T13" fmla="*/ 27 h 27"/>
                <a:gd name="T14" fmla="*/ 27 w 45"/>
                <a:gd name="T15" fmla="*/ 27 h 27"/>
                <a:gd name="T16" fmla="*/ 27 w 45"/>
                <a:gd name="T17" fmla="*/ 27 h 27"/>
                <a:gd name="T18" fmla="*/ 27 w 45"/>
                <a:gd name="T19" fmla="*/ 23 h 27"/>
                <a:gd name="T20" fmla="*/ 31 w 45"/>
                <a:gd name="T21" fmla="*/ 18 h 27"/>
                <a:gd name="T22" fmla="*/ 31 w 45"/>
                <a:gd name="T23" fmla="*/ 18 h 27"/>
                <a:gd name="T24" fmla="*/ 31 w 45"/>
                <a:gd name="T25" fmla="*/ 14 h 27"/>
                <a:gd name="T26" fmla="*/ 31 w 45"/>
                <a:gd name="T27" fmla="*/ 14 h 27"/>
                <a:gd name="T28" fmla="*/ 36 w 45"/>
                <a:gd name="T29" fmla="*/ 14 h 27"/>
                <a:gd name="T30" fmla="*/ 36 w 45"/>
                <a:gd name="T31" fmla="*/ 9 h 27"/>
                <a:gd name="T32" fmla="*/ 40 w 45"/>
                <a:gd name="T33" fmla="*/ 9 h 27"/>
                <a:gd name="T34" fmla="*/ 40 w 45"/>
                <a:gd name="T35" fmla="*/ 9 h 27"/>
                <a:gd name="T36" fmla="*/ 40 w 45"/>
                <a:gd name="T37" fmla="*/ 5 h 27"/>
                <a:gd name="T38" fmla="*/ 45 w 45"/>
                <a:gd name="T39" fmla="*/ 9 h 27"/>
                <a:gd name="T40" fmla="*/ 45 w 45"/>
                <a:gd name="T41" fmla="*/ 9 h 27"/>
                <a:gd name="T42" fmla="*/ 40 w 45"/>
                <a:gd name="T43" fmla="*/ 0 h 27"/>
                <a:gd name="T44" fmla="*/ 27 w 45"/>
                <a:gd name="T45" fmla="*/ 5 h 27"/>
                <a:gd name="T46" fmla="*/ 18 w 45"/>
                <a:gd name="T47" fmla="*/ 9 h 27"/>
                <a:gd name="T48" fmla="*/ 5 w 45"/>
                <a:gd name="T49" fmla="*/ 9 h 27"/>
                <a:gd name="T50" fmla="*/ 0 w 45"/>
                <a:gd name="T51" fmla="*/ 9 h 27"/>
                <a:gd name="T52" fmla="*/ 5 w 45"/>
                <a:gd name="T53" fmla="*/ 14 h 27"/>
                <a:gd name="T54" fmla="*/ 5 w 45"/>
                <a:gd name="T55" fmla="*/ 18 h 27"/>
                <a:gd name="T56" fmla="*/ 9 w 45"/>
                <a:gd name="T57" fmla="*/ 27 h 27"/>
                <a:gd name="T58" fmla="*/ 5 w 45"/>
                <a:gd name="T59" fmla="*/ 27 h 2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5"/>
                <a:gd name="T91" fmla="*/ 0 h 27"/>
                <a:gd name="T92" fmla="*/ 45 w 45"/>
                <a:gd name="T93" fmla="*/ 27 h 2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5" h="27">
                  <a:moveTo>
                    <a:pt x="5" y="27"/>
                  </a:moveTo>
                  <a:lnTo>
                    <a:pt x="5" y="27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22" y="27"/>
                  </a:lnTo>
                  <a:lnTo>
                    <a:pt x="27" y="27"/>
                  </a:lnTo>
                  <a:lnTo>
                    <a:pt x="27" y="23"/>
                  </a:lnTo>
                  <a:lnTo>
                    <a:pt x="31" y="18"/>
                  </a:lnTo>
                  <a:lnTo>
                    <a:pt x="31" y="14"/>
                  </a:lnTo>
                  <a:lnTo>
                    <a:pt x="36" y="14"/>
                  </a:lnTo>
                  <a:lnTo>
                    <a:pt x="36" y="9"/>
                  </a:lnTo>
                  <a:lnTo>
                    <a:pt x="40" y="9"/>
                  </a:lnTo>
                  <a:lnTo>
                    <a:pt x="40" y="5"/>
                  </a:lnTo>
                  <a:lnTo>
                    <a:pt x="45" y="9"/>
                  </a:lnTo>
                  <a:lnTo>
                    <a:pt x="40" y="0"/>
                  </a:lnTo>
                  <a:lnTo>
                    <a:pt x="27" y="5"/>
                  </a:lnTo>
                  <a:lnTo>
                    <a:pt x="1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5" y="18"/>
                  </a:lnTo>
                  <a:lnTo>
                    <a:pt x="9" y="27"/>
                  </a:lnTo>
                  <a:lnTo>
                    <a:pt x="5" y="27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09" name="Freeform 231"/>
            <p:cNvSpPr>
              <a:spLocks noEditPoints="1"/>
            </p:cNvSpPr>
            <p:nvPr/>
          </p:nvSpPr>
          <p:spPr bwMode="gray">
            <a:xfrm>
              <a:off x="2884" y="1367"/>
              <a:ext cx="187" cy="438"/>
            </a:xfrm>
            <a:custGeom>
              <a:avLst/>
              <a:gdLst>
                <a:gd name="T0" fmla="*/ 0 w 187"/>
                <a:gd name="T1" fmla="*/ 340 h 438"/>
                <a:gd name="T2" fmla="*/ 9 w 187"/>
                <a:gd name="T3" fmla="*/ 358 h 438"/>
                <a:gd name="T4" fmla="*/ 13 w 187"/>
                <a:gd name="T5" fmla="*/ 358 h 438"/>
                <a:gd name="T6" fmla="*/ 9 w 187"/>
                <a:gd name="T7" fmla="*/ 371 h 438"/>
                <a:gd name="T8" fmla="*/ 13 w 187"/>
                <a:gd name="T9" fmla="*/ 384 h 438"/>
                <a:gd name="T10" fmla="*/ 27 w 187"/>
                <a:gd name="T11" fmla="*/ 402 h 438"/>
                <a:gd name="T12" fmla="*/ 22 w 187"/>
                <a:gd name="T13" fmla="*/ 411 h 438"/>
                <a:gd name="T14" fmla="*/ 22 w 187"/>
                <a:gd name="T15" fmla="*/ 429 h 438"/>
                <a:gd name="T16" fmla="*/ 31 w 187"/>
                <a:gd name="T17" fmla="*/ 438 h 438"/>
                <a:gd name="T18" fmla="*/ 45 w 187"/>
                <a:gd name="T19" fmla="*/ 434 h 438"/>
                <a:gd name="T20" fmla="*/ 45 w 187"/>
                <a:gd name="T21" fmla="*/ 420 h 438"/>
                <a:gd name="T22" fmla="*/ 53 w 187"/>
                <a:gd name="T23" fmla="*/ 416 h 438"/>
                <a:gd name="T24" fmla="*/ 76 w 187"/>
                <a:gd name="T25" fmla="*/ 407 h 438"/>
                <a:gd name="T26" fmla="*/ 85 w 187"/>
                <a:gd name="T27" fmla="*/ 358 h 438"/>
                <a:gd name="T28" fmla="*/ 112 w 187"/>
                <a:gd name="T29" fmla="*/ 340 h 438"/>
                <a:gd name="T30" fmla="*/ 116 w 187"/>
                <a:gd name="T31" fmla="*/ 317 h 438"/>
                <a:gd name="T32" fmla="*/ 98 w 187"/>
                <a:gd name="T33" fmla="*/ 295 h 438"/>
                <a:gd name="T34" fmla="*/ 94 w 187"/>
                <a:gd name="T35" fmla="*/ 282 h 438"/>
                <a:gd name="T36" fmla="*/ 98 w 187"/>
                <a:gd name="T37" fmla="*/ 259 h 438"/>
                <a:gd name="T38" fmla="*/ 98 w 187"/>
                <a:gd name="T39" fmla="*/ 241 h 438"/>
                <a:gd name="T40" fmla="*/ 98 w 187"/>
                <a:gd name="T41" fmla="*/ 233 h 438"/>
                <a:gd name="T42" fmla="*/ 103 w 187"/>
                <a:gd name="T43" fmla="*/ 224 h 438"/>
                <a:gd name="T44" fmla="*/ 103 w 187"/>
                <a:gd name="T45" fmla="*/ 215 h 438"/>
                <a:gd name="T46" fmla="*/ 116 w 187"/>
                <a:gd name="T47" fmla="*/ 210 h 438"/>
                <a:gd name="T48" fmla="*/ 125 w 187"/>
                <a:gd name="T49" fmla="*/ 201 h 438"/>
                <a:gd name="T50" fmla="*/ 138 w 187"/>
                <a:gd name="T51" fmla="*/ 188 h 438"/>
                <a:gd name="T52" fmla="*/ 143 w 187"/>
                <a:gd name="T53" fmla="*/ 165 h 438"/>
                <a:gd name="T54" fmla="*/ 161 w 187"/>
                <a:gd name="T55" fmla="*/ 139 h 438"/>
                <a:gd name="T56" fmla="*/ 165 w 187"/>
                <a:gd name="T57" fmla="*/ 125 h 438"/>
                <a:gd name="T58" fmla="*/ 174 w 187"/>
                <a:gd name="T59" fmla="*/ 125 h 438"/>
                <a:gd name="T60" fmla="*/ 183 w 187"/>
                <a:gd name="T61" fmla="*/ 112 h 438"/>
                <a:gd name="T62" fmla="*/ 187 w 187"/>
                <a:gd name="T63" fmla="*/ 81 h 438"/>
                <a:gd name="T64" fmla="*/ 179 w 187"/>
                <a:gd name="T65" fmla="*/ 36 h 438"/>
                <a:gd name="T66" fmla="*/ 152 w 187"/>
                <a:gd name="T67" fmla="*/ 14 h 438"/>
                <a:gd name="T68" fmla="*/ 129 w 187"/>
                <a:gd name="T69" fmla="*/ 0 h 438"/>
                <a:gd name="T70" fmla="*/ 125 w 187"/>
                <a:gd name="T71" fmla="*/ 22 h 438"/>
                <a:gd name="T72" fmla="*/ 98 w 187"/>
                <a:gd name="T73" fmla="*/ 22 h 438"/>
                <a:gd name="T74" fmla="*/ 98 w 187"/>
                <a:gd name="T75" fmla="*/ 40 h 438"/>
                <a:gd name="T76" fmla="*/ 80 w 187"/>
                <a:gd name="T77" fmla="*/ 49 h 438"/>
                <a:gd name="T78" fmla="*/ 80 w 187"/>
                <a:gd name="T79" fmla="*/ 81 h 438"/>
                <a:gd name="T80" fmla="*/ 62 w 187"/>
                <a:gd name="T81" fmla="*/ 112 h 438"/>
                <a:gd name="T82" fmla="*/ 53 w 187"/>
                <a:gd name="T83" fmla="*/ 116 h 438"/>
                <a:gd name="T84" fmla="*/ 49 w 187"/>
                <a:gd name="T85" fmla="*/ 139 h 438"/>
                <a:gd name="T86" fmla="*/ 45 w 187"/>
                <a:gd name="T87" fmla="*/ 179 h 438"/>
                <a:gd name="T88" fmla="*/ 27 w 187"/>
                <a:gd name="T89" fmla="*/ 179 h 438"/>
                <a:gd name="T90" fmla="*/ 13 w 187"/>
                <a:gd name="T91" fmla="*/ 201 h 438"/>
                <a:gd name="T92" fmla="*/ 13 w 187"/>
                <a:gd name="T93" fmla="*/ 210 h 438"/>
                <a:gd name="T94" fmla="*/ 27 w 187"/>
                <a:gd name="T95" fmla="*/ 273 h 438"/>
                <a:gd name="T96" fmla="*/ 22 w 187"/>
                <a:gd name="T97" fmla="*/ 313 h 438"/>
                <a:gd name="T98" fmla="*/ 13 w 187"/>
                <a:gd name="T99" fmla="*/ 331 h 438"/>
                <a:gd name="T100" fmla="*/ 4 w 187"/>
                <a:gd name="T101" fmla="*/ 340 h 438"/>
                <a:gd name="T102" fmla="*/ 80 w 187"/>
                <a:gd name="T103" fmla="*/ 402 h 438"/>
                <a:gd name="T104" fmla="*/ 80 w 187"/>
                <a:gd name="T105" fmla="*/ 411 h 438"/>
                <a:gd name="T106" fmla="*/ 89 w 187"/>
                <a:gd name="T107" fmla="*/ 384 h 438"/>
                <a:gd name="T108" fmla="*/ 120 w 187"/>
                <a:gd name="T109" fmla="*/ 371 h 438"/>
                <a:gd name="T110" fmla="*/ 112 w 187"/>
                <a:gd name="T111" fmla="*/ 371 h 438"/>
                <a:gd name="T112" fmla="*/ 103 w 187"/>
                <a:gd name="T113" fmla="*/ 376 h 438"/>
                <a:gd name="T114" fmla="*/ 107 w 187"/>
                <a:gd name="T115" fmla="*/ 393 h 438"/>
                <a:gd name="T116" fmla="*/ 112 w 187"/>
                <a:gd name="T117" fmla="*/ 380 h 438"/>
                <a:gd name="T118" fmla="*/ 120 w 187"/>
                <a:gd name="T119" fmla="*/ 371 h 43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7"/>
                <a:gd name="T181" fmla="*/ 0 h 438"/>
                <a:gd name="T182" fmla="*/ 187 w 187"/>
                <a:gd name="T183" fmla="*/ 438 h 43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7" h="438">
                  <a:moveTo>
                    <a:pt x="4" y="340"/>
                  </a:moveTo>
                  <a:lnTo>
                    <a:pt x="0" y="340"/>
                  </a:lnTo>
                  <a:lnTo>
                    <a:pt x="0" y="358"/>
                  </a:lnTo>
                  <a:lnTo>
                    <a:pt x="9" y="358"/>
                  </a:lnTo>
                  <a:lnTo>
                    <a:pt x="9" y="353"/>
                  </a:lnTo>
                  <a:lnTo>
                    <a:pt x="13" y="358"/>
                  </a:lnTo>
                  <a:lnTo>
                    <a:pt x="9" y="367"/>
                  </a:lnTo>
                  <a:lnTo>
                    <a:pt x="9" y="371"/>
                  </a:lnTo>
                  <a:lnTo>
                    <a:pt x="9" y="384"/>
                  </a:lnTo>
                  <a:lnTo>
                    <a:pt x="13" y="384"/>
                  </a:lnTo>
                  <a:lnTo>
                    <a:pt x="18" y="398"/>
                  </a:lnTo>
                  <a:lnTo>
                    <a:pt x="27" y="402"/>
                  </a:lnTo>
                  <a:lnTo>
                    <a:pt x="18" y="411"/>
                  </a:lnTo>
                  <a:lnTo>
                    <a:pt x="22" y="411"/>
                  </a:lnTo>
                  <a:lnTo>
                    <a:pt x="18" y="411"/>
                  </a:lnTo>
                  <a:lnTo>
                    <a:pt x="22" y="429"/>
                  </a:lnTo>
                  <a:lnTo>
                    <a:pt x="22" y="434"/>
                  </a:lnTo>
                  <a:lnTo>
                    <a:pt x="31" y="438"/>
                  </a:lnTo>
                  <a:lnTo>
                    <a:pt x="45" y="438"/>
                  </a:lnTo>
                  <a:lnTo>
                    <a:pt x="45" y="434"/>
                  </a:lnTo>
                  <a:lnTo>
                    <a:pt x="45" y="429"/>
                  </a:lnTo>
                  <a:lnTo>
                    <a:pt x="45" y="420"/>
                  </a:lnTo>
                  <a:lnTo>
                    <a:pt x="53" y="420"/>
                  </a:lnTo>
                  <a:lnTo>
                    <a:pt x="53" y="416"/>
                  </a:lnTo>
                  <a:lnTo>
                    <a:pt x="71" y="416"/>
                  </a:lnTo>
                  <a:lnTo>
                    <a:pt x="76" y="407"/>
                  </a:lnTo>
                  <a:lnTo>
                    <a:pt x="80" y="380"/>
                  </a:lnTo>
                  <a:lnTo>
                    <a:pt x="85" y="358"/>
                  </a:lnTo>
                  <a:lnTo>
                    <a:pt x="94" y="344"/>
                  </a:lnTo>
                  <a:lnTo>
                    <a:pt x="112" y="340"/>
                  </a:lnTo>
                  <a:lnTo>
                    <a:pt x="107" y="331"/>
                  </a:lnTo>
                  <a:lnTo>
                    <a:pt x="116" y="317"/>
                  </a:lnTo>
                  <a:lnTo>
                    <a:pt x="112" y="308"/>
                  </a:lnTo>
                  <a:lnTo>
                    <a:pt x="98" y="295"/>
                  </a:lnTo>
                  <a:lnTo>
                    <a:pt x="94" y="291"/>
                  </a:lnTo>
                  <a:lnTo>
                    <a:pt x="94" y="282"/>
                  </a:lnTo>
                  <a:lnTo>
                    <a:pt x="94" y="259"/>
                  </a:lnTo>
                  <a:lnTo>
                    <a:pt x="98" y="259"/>
                  </a:lnTo>
                  <a:lnTo>
                    <a:pt x="94" y="255"/>
                  </a:lnTo>
                  <a:lnTo>
                    <a:pt x="98" y="241"/>
                  </a:lnTo>
                  <a:lnTo>
                    <a:pt x="94" y="237"/>
                  </a:lnTo>
                  <a:lnTo>
                    <a:pt x="98" y="233"/>
                  </a:lnTo>
                  <a:lnTo>
                    <a:pt x="98" y="224"/>
                  </a:lnTo>
                  <a:lnTo>
                    <a:pt x="103" y="224"/>
                  </a:lnTo>
                  <a:lnTo>
                    <a:pt x="107" y="219"/>
                  </a:lnTo>
                  <a:lnTo>
                    <a:pt x="103" y="215"/>
                  </a:lnTo>
                  <a:lnTo>
                    <a:pt x="112" y="206"/>
                  </a:lnTo>
                  <a:lnTo>
                    <a:pt x="116" y="210"/>
                  </a:lnTo>
                  <a:lnTo>
                    <a:pt x="125" y="197"/>
                  </a:lnTo>
                  <a:lnTo>
                    <a:pt x="125" y="201"/>
                  </a:lnTo>
                  <a:lnTo>
                    <a:pt x="129" y="192"/>
                  </a:lnTo>
                  <a:lnTo>
                    <a:pt x="138" y="188"/>
                  </a:lnTo>
                  <a:lnTo>
                    <a:pt x="152" y="174"/>
                  </a:lnTo>
                  <a:lnTo>
                    <a:pt x="143" y="165"/>
                  </a:lnTo>
                  <a:lnTo>
                    <a:pt x="152" y="148"/>
                  </a:lnTo>
                  <a:lnTo>
                    <a:pt x="161" y="139"/>
                  </a:lnTo>
                  <a:lnTo>
                    <a:pt x="161" y="130"/>
                  </a:lnTo>
                  <a:lnTo>
                    <a:pt x="165" y="125"/>
                  </a:lnTo>
                  <a:lnTo>
                    <a:pt x="165" y="121"/>
                  </a:lnTo>
                  <a:lnTo>
                    <a:pt x="174" y="125"/>
                  </a:lnTo>
                  <a:lnTo>
                    <a:pt x="187" y="125"/>
                  </a:lnTo>
                  <a:lnTo>
                    <a:pt x="183" y="112"/>
                  </a:lnTo>
                  <a:lnTo>
                    <a:pt x="183" y="98"/>
                  </a:lnTo>
                  <a:lnTo>
                    <a:pt x="187" y="81"/>
                  </a:lnTo>
                  <a:lnTo>
                    <a:pt x="183" y="58"/>
                  </a:lnTo>
                  <a:lnTo>
                    <a:pt x="179" y="36"/>
                  </a:lnTo>
                  <a:lnTo>
                    <a:pt x="174" y="22"/>
                  </a:lnTo>
                  <a:lnTo>
                    <a:pt x="152" y="14"/>
                  </a:lnTo>
                  <a:lnTo>
                    <a:pt x="138" y="0"/>
                  </a:lnTo>
                  <a:lnTo>
                    <a:pt x="129" y="0"/>
                  </a:lnTo>
                  <a:lnTo>
                    <a:pt x="125" y="9"/>
                  </a:lnTo>
                  <a:lnTo>
                    <a:pt x="125" y="22"/>
                  </a:lnTo>
                  <a:lnTo>
                    <a:pt x="103" y="18"/>
                  </a:lnTo>
                  <a:lnTo>
                    <a:pt x="98" y="22"/>
                  </a:lnTo>
                  <a:lnTo>
                    <a:pt x="103" y="36"/>
                  </a:lnTo>
                  <a:lnTo>
                    <a:pt x="98" y="40"/>
                  </a:lnTo>
                  <a:lnTo>
                    <a:pt x="89" y="36"/>
                  </a:lnTo>
                  <a:lnTo>
                    <a:pt x="80" y="49"/>
                  </a:lnTo>
                  <a:lnTo>
                    <a:pt x="76" y="63"/>
                  </a:lnTo>
                  <a:lnTo>
                    <a:pt x="80" y="81"/>
                  </a:lnTo>
                  <a:lnTo>
                    <a:pt x="58" y="103"/>
                  </a:lnTo>
                  <a:lnTo>
                    <a:pt x="62" y="112"/>
                  </a:lnTo>
                  <a:lnTo>
                    <a:pt x="58" y="121"/>
                  </a:lnTo>
                  <a:lnTo>
                    <a:pt x="53" y="116"/>
                  </a:lnTo>
                  <a:lnTo>
                    <a:pt x="49" y="121"/>
                  </a:lnTo>
                  <a:lnTo>
                    <a:pt x="49" y="139"/>
                  </a:lnTo>
                  <a:lnTo>
                    <a:pt x="40" y="165"/>
                  </a:lnTo>
                  <a:lnTo>
                    <a:pt x="45" y="179"/>
                  </a:lnTo>
                  <a:lnTo>
                    <a:pt x="36" y="183"/>
                  </a:lnTo>
                  <a:lnTo>
                    <a:pt x="27" y="179"/>
                  </a:lnTo>
                  <a:lnTo>
                    <a:pt x="18" y="183"/>
                  </a:lnTo>
                  <a:lnTo>
                    <a:pt x="13" y="201"/>
                  </a:lnTo>
                  <a:lnTo>
                    <a:pt x="18" y="206"/>
                  </a:lnTo>
                  <a:lnTo>
                    <a:pt x="13" y="210"/>
                  </a:lnTo>
                  <a:lnTo>
                    <a:pt x="13" y="255"/>
                  </a:lnTo>
                  <a:lnTo>
                    <a:pt x="27" y="273"/>
                  </a:lnTo>
                  <a:lnTo>
                    <a:pt x="18" y="286"/>
                  </a:lnTo>
                  <a:lnTo>
                    <a:pt x="22" y="313"/>
                  </a:lnTo>
                  <a:lnTo>
                    <a:pt x="13" y="322"/>
                  </a:lnTo>
                  <a:lnTo>
                    <a:pt x="13" y="331"/>
                  </a:lnTo>
                  <a:lnTo>
                    <a:pt x="13" y="344"/>
                  </a:lnTo>
                  <a:lnTo>
                    <a:pt x="4" y="340"/>
                  </a:lnTo>
                  <a:close/>
                  <a:moveTo>
                    <a:pt x="85" y="384"/>
                  </a:moveTo>
                  <a:lnTo>
                    <a:pt x="80" y="402"/>
                  </a:lnTo>
                  <a:lnTo>
                    <a:pt x="80" y="416"/>
                  </a:lnTo>
                  <a:lnTo>
                    <a:pt x="80" y="411"/>
                  </a:lnTo>
                  <a:lnTo>
                    <a:pt x="80" y="407"/>
                  </a:lnTo>
                  <a:lnTo>
                    <a:pt x="89" y="384"/>
                  </a:lnTo>
                  <a:lnTo>
                    <a:pt x="85" y="384"/>
                  </a:lnTo>
                  <a:close/>
                  <a:moveTo>
                    <a:pt x="120" y="371"/>
                  </a:moveTo>
                  <a:lnTo>
                    <a:pt x="116" y="367"/>
                  </a:lnTo>
                  <a:lnTo>
                    <a:pt x="112" y="371"/>
                  </a:lnTo>
                  <a:lnTo>
                    <a:pt x="107" y="367"/>
                  </a:lnTo>
                  <a:lnTo>
                    <a:pt x="103" y="376"/>
                  </a:lnTo>
                  <a:lnTo>
                    <a:pt x="103" y="384"/>
                  </a:lnTo>
                  <a:lnTo>
                    <a:pt x="107" y="393"/>
                  </a:lnTo>
                  <a:lnTo>
                    <a:pt x="112" y="380"/>
                  </a:lnTo>
                  <a:lnTo>
                    <a:pt x="112" y="371"/>
                  </a:lnTo>
                  <a:lnTo>
                    <a:pt x="120" y="37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10" name="Freeform 232"/>
            <p:cNvSpPr>
              <a:spLocks/>
            </p:cNvSpPr>
            <p:nvPr/>
          </p:nvSpPr>
          <p:spPr bwMode="gray">
            <a:xfrm>
              <a:off x="2817" y="1988"/>
              <a:ext cx="58" cy="36"/>
            </a:xfrm>
            <a:custGeom>
              <a:avLst/>
              <a:gdLst>
                <a:gd name="T0" fmla="*/ 13 w 58"/>
                <a:gd name="T1" fmla="*/ 36 h 36"/>
                <a:gd name="T2" fmla="*/ 9 w 58"/>
                <a:gd name="T3" fmla="*/ 27 h 36"/>
                <a:gd name="T4" fmla="*/ 4 w 58"/>
                <a:gd name="T5" fmla="*/ 23 h 36"/>
                <a:gd name="T6" fmla="*/ 0 w 58"/>
                <a:gd name="T7" fmla="*/ 32 h 36"/>
                <a:gd name="T8" fmla="*/ 0 w 58"/>
                <a:gd name="T9" fmla="*/ 23 h 36"/>
                <a:gd name="T10" fmla="*/ 9 w 58"/>
                <a:gd name="T11" fmla="*/ 9 h 36"/>
                <a:gd name="T12" fmla="*/ 9 w 58"/>
                <a:gd name="T13" fmla="*/ 5 h 36"/>
                <a:gd name="T14" fmla="*/ 18 w 58"/>
                <a:gd name="T15" fmla="*/ 5 h 36"/>
                <a:gd name="T16" fmla="*/ 22 w 58"/>
                <a:gd name="T17" fmla="*/ 0 h 36"/>
                <a:gd name="T18" fmla="*/ 22 w 58"/>
                <a:gd name="T19" fmla="*/ 5 h 36"/>
                <a:gd name="T20" fmla="*/ 31 w 58"/>
                <a:gd name="T21" fmla="*/ 0 h 36"/>
                <a:gd name="T22" fmla="*/ 40 w 58"/>
                <a:gd name="T23" fmla="*/ 0 h 36"/>
                <a:gd name="T24" fmla="*/ 49 w 58"/>
                <a:gd name="T25" fmla="*/ 0 h 36"/>
                <a:gd name="T26" fmla="*/ 49 w 58"/>
                <a:gd name="T27" fmla="*/ 14 h 36"/>
                <a:gd name="T28" fmla="*/ 49 w 58"/>
                <a:gd name="T29" fmla="*/ 18 h 36"/>
                <a:gd name="T30" fmla="*/ 58 w 58"/>
                <a:gd name="T31" fmla="*/ 14 h 36"/>
                <a:gd name="T32" fmla="*/ 58 w 58"/>
                <a:gd name="T33" fmla="*/ 18 h 36"/>
                <a:gd name="T34" fmla="*/ 53 w 58"/>
                <a:gd name="T35" fmla="*/ 27 h 36"/>
                <a:gd name="T36" fmla="*/ 45 w 58"/>
                <a:gd name="T37" fmla="*/ 27 h 36"/>
                <a:gd name="T38" fmla="*/ 40 w 58"/>
                <a:gd name="T39" fmla="*/ 23 h 36"/>
                <a:gd name="T40" fmla="*/ 40 w 58"/>
                <a:gd name="T41" fmla="*/ 32 h 36"/>
                <a:gd name="T42" fmla="*/ 36 w 58"/>
                <a:gd name="T43" fmla="*/ 36 h 36"/>
                <a:gd name="T44" fmla="*/ 31 w 58"/>
                <a:gd name="T45" fmla="*/ 27 h 36"/>
                <a:gd name="T46" fmla="*/ 27 w 58"/>
                <a:gd name="T47" fmla="*/ 27 h 36"/>
                <a:gd name="T48" fmla="*/ 27 w 58"/>
                <a:gd name="T49" fmla="*/ 36 h 36"/>
                <a:gd name="T50" fmla="*/ 18 w 58"/>
                <a:gd name="T51" fmla="*/ 36 h 36"/>
                <a:gd name="T52" fmla="*/ 13 w 58"/>
                <a:gd name="T53" fmla="*/ 36 h 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8"/>
                <a:gd name="T82" fmla="*/ 0 h 36"/>
                <a:gd name="T83" fmla="*/ 58 w 58"/>
                <a:gd name="T84" fmla="*/ 36 h 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8" h="36">
                  <a:moveTo>
                    <a:pt x="13" y="36"/>
                  </a:moveTo>
                  <a:lnTo>
                    <a:pt x="9" y="27"/>
                  </a:lnTo>
                  <a:lnTo>
                    <a:pt x="4" y="23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9" y="9"/>
                  </a:lnTo>
                  <a:lnTo>
                    <a:pt x="9" y="5"/>
                  </a:lnTo>
                  <a:lnTo>
                    <a:pt x="18" y="5"/>
                  </a:lnTo>
                  <a:lnTo>
                    <a:pt x="22" y="0"/>
                  </a:lnTo>
                  <a:lnTo>
                    <a:pt x="22" y="5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49" y="18"/>
                  </a:lnTo>
                  <a:lnTo>
                    <a:pt x="58" y="14"/>
                  </a:lnTo>
                  <a:lnTo>
                    <a:pt x="58" y="18"/>
                  </a:lnTo>
                  <a:lnTo>
                    <a:pt x="53" y="27"/>
                  </a:lnTo>
                  <a:lnTo>
                    <a:pt x="45" y="27"/>
                  </a:lnTo>
                  <a:lnTo>
                    <a:pt x="40" y="23"/>
                  </a:lnTo>
                  <a:lnTo>
                    <a:pt x="40" y="32"/>
                  </a:lnTo>
                  <a:lnTo>
                    <a:pt x="36" y="36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36"/>
                  </a:lnTo>
                  <a:lnTo>
                    <a:pt x="18" y="36"/>
                  </a:lnTo>
                  <a:lnTo>
                    <a:pt x="13" y="36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11" name="Freeform 233"/>
            <p:cNvSpPr>
              <a:spLocks noEditPoints="1"/>
            </p:cNvSpPr>
            <p:nvPr/>
          </p:nvSpPr>
          <p:spPr bwMode="gray">
            <a:xfrm>
              <a:off x="3098" y="2100"/>
              <a:ext cx="273" cy="125"/>
            </a:xfrm>
            <a:custGeom>
              <a:avLst/>
              <a:gdLst>
                <a:gd name="T0" fmla="*/ 0 w 273"/>
                <a:gd name="T1" fmla="*/ 18 h 125"/>
                <a:gd name="T2" fmla="*/ 18 w 273"/>
                <a:gd name="T3" fmla="*/ 0 h 125"/>
                <a:gd name="T4" fmla="*/ 32 w 273"/>
                <a:gd name="T5" fmla="*/ 4 h 125"/>
                <a:gd name="T6" fmla="*/ 45 w 273"/>
                <a:gd name="T7" fmla="*/ 18 h 125"/>
                <a:gd name="T8" fmla="*/ 32 w 273"/>
                <a:gd name="T9" fmla="*/ 22 h 125"/>
                <a:gd name="T10" fmla="*/ 14 w 273"/>
                <a:gd name="T11" fmla="*/ 31 h 125"/>
                <a:gd name="T12" fmla="*/ 0 w 273"/>
                <a:gd name="T13" fmla="*/ 40 h 125"/>
                <a:gd name="T14" fmla="*/ 9 w 273"/>
                <a:gd name="T15" fmla="*/ 27 h 125"/>
                <a:gd name="T16" fmla="*/ 63 w 273"/>
                <a:gd name="T17" fmla="*/ 112 h 125"/>
                <a:gd name="T18" fmla="*/ 85 w 273"/>
                <a:gd name="T19" fmla="*/ 107 h 125"/>
                <a:gd name="T20" fmla="*/ 99 w 273"/>
                <a:gd name="T21" fmla="*/ 116 h 125"/>
                <a:gd name="T22" fmla="*/ 121 w 273"/>
                <a:gd name="T23" fmla="*/ 107 h 125"/>
                <a:gd name="T24" fmla="*/ 139 w 273"/>
                <a:gd name="T25" fmla="*/ 112 h 125"/>
                <a:gd name="T26" fmla="*/ 148 w 273"/>
                <a:gd name="T27" fmla="*/ 107 h 125"/>
                <a:gd name="T28" fmla="*/ 143 w 273"/>
                <a:gd name="T29" fmla="*/ 116 h 125"/>
                <a:gd name="T30" fmla="*/ 139 w 273"/>
                <a:gd name="T31" fmla="*/ 125 h 125"/>
                <a:gd name="T32" fmla="*/ 157 w 273"/>
                <a:gd name="T33" fmla="*/ 116 h 125"/>
                <a:gd name="T34" fmla="*/ 179 w 273"/>
                <a:gd name="T35" fmla="*/ 103 h 125"/>
                <a:gd name="T36" fmla="*/ 210 w 273"/>
                <a:gd name="T37" fmla="*/ 103 h 125"/>
                <a:gd name="T38" fmla="*/ 241 w 273"/>
                <a:gd name="T39" fmla="*/ 103 h 125"/>
                <a:gd name="T40" fmla="*/ 264 w 273"/>
                <a:gd name="T41" fmla="*/ 103 h 125"/>
                <a:gd name="T42" fmla="*/ 273 w 273"/>
                <a:gd name="T43" fmla="*/ 94 h 125"/>
                <a:gd name="T44" fmla="*/ 259 w 273"/>
                <a:gd name="T45" fmla="*/ 63 h 125"/>
                <a:gd name="T46" fmla="*/ 264 w 273"/>
                <a:gd name="T47" fmla="*/ 45 h 125"/>
                <a:gd name="T48" fmla="*/ 250 w 273"/>
                <a:gd name="T49" fmla="*/ 22 h 125"/>
                <a:gd name="T50" fmla="*/ 219 w 273"/>
                <a:gd name="T51" fmla="*/ 13 h 125"/>
                <a:gd name="T52" fmla="*/ 206 w 273"/>
                <a:gd name="T53" fmla="*/ 22 h 125"/>
                <a:gd name="T54" fmla="*/ 183 w 273"/>
                <a:gd name="T55" fmla="*/ 22 h 125"/>
                <a:gd name="T56" fmla="*/ 148 w 273"/>
                <a:gd name="T57" fmla="*/ 18 h 125"/>
                <a:gd name="T58" fmla="*/ 134 w 273"/>
                <a:gd name="T59" fmla="*/ 9 h 125"/>
                <a:gd name="T60" fmla="*/ 130 w 273"/>
                <a:gd name="T61" fmla="*/ 0 h 125"/>
                <a:gd name="T62" fmla="*/ 103 w 273"/>
                <a:gd name="T63" fmla="*/ 0 h 125"/>
                <a:gd name="T64" fmla="*/ 76 w 273"/>
                <a:gd name="T65" fmla="*/ 18 h 125"/>
                <a:gd name="T66" fmla="*/ 54 w 273"/>
                <a:gd name="T67" fmla="*/ 18 h 125"/>
                <a:gd name="T68" fmla="*/ 45 w 273"/>
                <a:gd name="T69" fmla="*/ 22 h 125"/>
                <a:gd name="T70" fmla="*/ 40 w 273"/>
                <a:gd name="T71" fmla="*/ 27 h 125"/>
                <a:gd name="T72" fmla="*/ 36 w 273"/>
                <a:gd name="T73" fmla="*/ 31 h 125"/>
                <a:gd name="T74" fmla="*/ 23 w 273"/>
                <a:gd name="T75" fmla="*/ 40 h 125"/>
                <a:gd name="T76" fmla="*/ 9 w 273"/>
                <a:gd name="T77" fmla="*/ 36 h 125"/>
                <a:gd name="T78" fmla="*/ 0 w 273"/>
                <a:gd name="T79" fmla="*/ 49 h 125"/>
                <a:gd name="T80" fmla="*/ 9 w 273"/>
                <a:gd name="T81" fmla="*/ 54 h 125"/>
                <a:gd name="T82" fmla="*/ 14 w 273"/>
                <a:gd name="T83" fmla="*/ 72 h 125"/>
                <a:gd name="T84" fmla="*/ 5 w 273"/>
                <a:gd name="T85" fmla="*/ 67 h 125"/>
                <a:gd name="T86" fmla="*/ 9 w 273"/>
                <a:gd name="T87" fmla="*/ 76 h 125"/>
                <a:gd name="T88" fmla="*/ 14 w 273"/>
                <a:gd name="T89" fmla="*/ 85 h 125"/>
                <a:gd name="T90" fmla="*/ 23 w 273"/>
                <a:gd name="T91" fmla="*/ 94 h 125"/>
                <a:gd name="T92" fmla="*/ 27 w 273"/>
                <a:gd name="T93" fmla="*/ 98 h 125"/>
                <a:gd name="T94" fmla="*/ 23 w 273"/>
                <a:gd name="T95" fmla="*/ 107 h 125"/>
                <a:gd name="T96" fmla="*/ 32 w 273"/>
                <a:gd name="T97" fmla="*/ 107 h 125"/>
                <a:gd name="T98" fmla="*/ 45 w 273"/>
                <a:gd name="T99" fmla="*/ 103 h 125"/>
                <a:gd name="T100" fmla="*/ 54 w 273"/>
                <a:gd name="T101" fmla="*/ 116 h 12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3"/>
                <a:gd name="T154" fmla="*/ 0 h 125"/>
                <a:gd name="T155" fmla="*/ 273 w 273"/>
                <a:gd name="T156" fmla="*/ 125 h 12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3" h="125">
                  <a:moveTo>
                    <a:pt x="0" y="22"/>
                  </a:moveTo>
                  <a:lnTo>
                    <a:pt x="0" y="18"/>
                  </a:lnTo>
                  <a:lnTo>
                    <a:pt x="0" y="9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32" y="4"/>
                  </a:lnTo>
                  <a:lnTo>
                    <a:pt x="32" y="13"/>
                  </a:lnTo>
                  <a:lnTo>
                    <a:pt x="45" y="18"/>
                  </a:lnTo>
                  <a:lnTo>
                    <a:pt x="36" y="22"/>
                  </a:lnTo>
                  <a:lnTo>
                    <a:pt x="32" y="22"/>
                  </a:lnTo>
                  <a:lnTo>
                    <a:pt x="18" y="22"/>
                  </a:lnTo>
                  <a:lnTo>
                    <a:pt x="14" y="31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9" y="27"/>
                  </a:lnTo>
                  <a:lnTo>
                    <a:pt x="0" y="22"/>
                  </a:lnTo>
                  <a:close/>
                  <a:moveTo>
                    <a:pt x="63" y="112"/>
                  </a:moveTo>
                  <a:lnTo>
                    <a:pt x="67" y="103"/>
                  </a:lnTo>
                  <a:lnTo>
                    <a:pt x="85" y="107"/>
                  </a:lnTo>
                  <a:lnTo>
                    <a:pt x="90" y="116"/>
                  </a:lnTo>
                  <a:lnTo>
                    <a:pt x="99" y="116"/>
                  </a:lnTo>
                  <a:lnTo>
                    <a:pt x="116" y="112"/>
                  </a:lnTo>
                  <a:lnTo>
                    <a:pt x="121" y="107"/>
                  </a:lnTo>
                  <a:lnTo>
                    <a:pt x="125" y="107"/>
                  </a:lnTo>
                  <a:lnTo>
                    <a:pt x="139" y="112"/>
                  </a:lnTo>
                  <a:lnTo>
                    <a:pt x="143" y="103"/>
                  </a:lnTo>
                  <a:lnTo>
                    <a:pt x="148" y="107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21"/>
                  </a:lnTo>
                  <a:lnTo>
                    <a:pt x="139" y="125"/>
                  </a:lnTo>
                  <a:lnTo>
                    <a:pt x="148" y="125"/>
                  </a:lnTo>
                  <a:lnTo>
                    <a:pt x="157" y="116"/>
                  </a:lnTo>
                  <a:lnTo>
                    <a:pt x="157" y="107"/>
                  </a:lnTo>
                  <a:lnTo>
                    <a:pt x="179" y="103"/>
                  </a:lnTo>
                  <a:lnTo>
                    <a:pt x="197" y="107"/>
                  </a:lnTo>
                  <a:lnTo>
                    <a:pt x="210" y="103"/>
                  </a:lnTo>
                  <a:lnTo>
                    <a:pt x="233" y="98"/>
                  </a:lnTo>
                  <a:lnTo>
                    <a:pt x="241" y="103"/>
                  </a:lnTo>
                  <a:lnTo>
                    <a:pt x="246" y="98"/>
                  </a:lnTo>
                  <a:lnTo>
                    <a:pt x="264" y="103"/>
                  </a:lnTo>
                  <a:lnTo>
                    <a:pt x="273" y="98"/>
                  </a:lnTo>
                  <a:lnTo>
                    <a:pt x="273" y="94"/>
                  </a:lnTo>
                  <a:lnTo>
                    <a:pt x="264" y="89"/>
                  </a:lnTo>
                  <a:lnTo>
                    <a:pt x="259" y="63"/>
                  </a:lnTo>
                  <a:lnTo>
                    <a:pt x="268" y="54"/>
                  </a:lnTo>
                  <a:lnTo>
                    <a:pt x="264" y="45"/>
                  </a:lnTo>
                  <a:lnTo>
                    <a:pt x="255" y="40"/>
                  </a:lnTo>
                  <a:lnTo>
                    <a:pt x="250" y="22"/>
                  </a:lnTo>
                  <a:lnTo>
                    <a:pt x="241" y="18"/>
                  </a:lnTo>
                  <a:lnTo>
                    <a:pt x="219" y="13"/>
                  </a:lnTo>
                  <a:lnTo>
                    <a:pt x="210" y="18"/>
                  </a:lnTo>
                  <a:lnTo>
                    <a:pt x="206" y="22"/>
                  </a:lnTo>
                  <a:lnTo>
                    <a:pt x="192" y="18"/>
                  </a:lnTo>
                  <a:lnTo>
                    <a:pt x="183" y="22"/>
                  </a:lnTo>
                  <a:lnTo>
                    <a:pt x="170" y="22"/>
                  </a:lnTo>
                  <a:lnTo>
                    <a:pt x="148" y="18"/>
                  </a:lnTo>
                  <a:lnTo>
                    <a:pt x="143" y="9"/>
                  </a:lnTo>
                  <a:lnTo>
                    <a:pt x="134" y="9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76" y="13"/>
                  </a:lnTo>
                  <a:lnTo>
                    <a:pt x="76" y="18"/>
                  </a:lnTo>
                  <a:lnTo>
                    <a:pt x="63" y="18"/>
                  </a:lnTo>
                  <a:lnTo>
                    <a:pt x="54" y="18"/>
                  </a:lnTo>
                  <a:lnTo>
                    <a:pt x="45" y="18"/>
                  </a:lnTo>
                  <a:lnTo>
                    <a:pt x="45" y="22"/>
                  </a:lnTo>
                  <a:lnTo>
                    <a:pt x="45" y="27"/>
                  </a:lnTo>
                  <a:lnTo>
                    <a:pt x="40" y="27"/>
                  </a:lnTo>
                  <a:lnTo>
                    <a:pt x="45" y="31"/>
                  </a:lnTo>
                  <a:lnTo>
                    <a:pt x="36" y="31"/>
                  </a:lnTo>
                  <a:lnTo>
                    <a:pt x="27" y="31"/>
                  </a:lnTo>
                  <a:lnTo>
                    <a:pt x="23" y="40"/>
                  </a:lnTo>
                  <a:lnTo>
                    <a:pt x="14" y="36"/>
                  </a:lnTo>
                  <a:lnTo>
                    <a:pt x="9" y="36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4" y="49"/>
                  </a:lnTo>
                  <a:lnTo>
                    <a:pt x="9" y="54"/>
                  </a:lnTo>
                  <a:lnTo>
                    <a:pt x="14" y="67"/>
                  </a:lnTo>
                  <a:lnTo>
                    <a:pt x="14" y="72"/>
                  </a:lnTo>
                  <a:lnTo>
                    <a:pt x="9" y="72"/>
                  </a:lnTo>
                  <a:lnTo>
                    <a:pt x="5" y="67"/>
                  </a:lnTo>
                  <a:lnTo>
                    <a:pt x="5" y="76"/>
                  </a:lnTo>
                  <a:lnTo>
                    <a:pt x="9" y="76"/>
                  </a:lnTo>
                  <a:lnTo>
                    <a:pt x="14" y="80"/>
                  </a:lnTo>
                  <a:lnTo>
                    <a:pt x="14" y="85"/>
                  </a:lnTo>
                  <a:lnTo>
                    <a:pt x="14" y="94"/>
                  </a:lnTo>
                  <a:lnTo>
                    <a:pt x="23" y="94"/>
                  </a:lnTo>
                  <a:lnTo>
                    <a:pt x="14" y="98"/>
                  </a:lnTo>
                  <a:lnTo>
                    <a:pt x="27" y="98"/>
                  </a:lnTo>
                  <a:lnTo>
                    <a:pt x="27" y="103"/>
                  </a:lnTo>
                  <a:lnTo>
                    <a:pt x="23" y="107"/>
                  </a:lnTo>
                  <a:lnTo>
                    <a:pt x="27" y="103"/>
                  </a:lnTo>
                  <a:lnTo>
                    <a:pt x="32" y="107"/>
                  </a:lnTo>
                  <a:lnTo>
                    <a:pt x="36" y="98"/>
                  </a:lnTo>
                  <a:lnTo>
                    <a:pt x="45" y="103"/>
                  </a:lnTo>
                  <a:lnTo>
                    <a:pt x="49" y="112"/>
                  </a:lnTo>
                  <a:lnTo>
                    <a:pt x="54" y="116"/>
                  </a:lnTo>
                  <a:lnTo>
                    <a:pt x="63" y="112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12" name="Freeform 234"/>
            <p:cNvSpPr>
              <a:spLocks/>
            </p:cNvSpPr>
            <p:nvPr/>
          </p:nvSpPr>
          <p:spPr bwMode="gray">
            <a:xfrm>
              <a:off x="3045" y="1886"/>
              <a:ext cx="254" cy="169"/>
            </a:xfrm>
            <a:custGeom>
              <a:avLst/>
              <a:gdLst>
                <a:gd name="T0" fmla="*/ 4 w 254"/>
                <a:gd name="T1" fmla="*/ 71 h 169"/>
                <a:gd name="T2" fmla="*/ 4 w 254"/>
                <a:gd name="T3" fmla="*/ 67 h 169"/>
                <a:gd name="T4" fmla="*/ 22 w 254"/>
                <a:gd name="T5" fmla="*/ 49 h 169"/>
                <a:gd name="T6" fmla="*/ 22 w 254"/>
                <a:gd name="T7" fmla="*/ 40 h 169"/>
                <a:gd name="T8" fmla="*/ 18 w 254"/>
                <a:gd name="T9" fmla="*/ 17 h 169"/>
                <a:gd name="T10" fmla="*/ 26 w 254"/>
                <a:gd name="T11" fmla="*/ 17 h 169"/>
                <a:gd name="T12" fmla="*/ 35 w 254"/>
                <a:gd name="T13" fmla="*/ 4 h 169"/>
                <a:gd name="T14" fmla="*/ 58 w 254"/>
                <a:gd name="T15" fmla="*/ 13 h 169"/>
                <a:gd name="T16" fmla="*/ 76 w 254"/>
                <a:gd name="T17" fmla="*/ 13 h 169"/>
                <a:gd name="T18" fmla="*/ 80 w 254"/>
                <a:gd name="T19" fmla="*/ 17 h 169"/>
                <a:gd name="T20" fmla="*/ 89 w 254"/>
                <a:gd name="T21" fmla="*/ 13 h 169"/>
                <a:gd name="T22" fmla="*/ 98 w 254"/>
                <a:gd name="T23" fmla="*/ 13 h 169"/>
                <a:gd name="T24" fmla="*/ 111 w 254"/>
                <a:gd name="T25" fmla="*/ 17 h 169"/>
                <a:gd name="T26" fmla="*/ 120 w 254"/>
                <a:gd name="T27" fmla="*/ 17 h 169"/>
                <a:gd name="T28" fmla="*/ 125 w 254"/>
                <a:gd name="T29" fmla="*/ 0 h 169"/>
                <a:gd name="T30" fmla="*/ 138 w 254"/>
                <a:gd name="T31" fmla="*/ 4 h 169"/>
                <a:gd name="T32" fmla="*/ 147 w 254"/>
                <a:gd name="T33" fmla="*/ 4 h 169"/>
                <a:gd name="T34" fmla="*/ 165 w 254"/>
                <a:gd name="T35" fmla="*/ 0 h 169"/>
                <a:gd name="T36" fmla="*/ 174 w 254"/>
                <a:gd name="T37" fmla="*/ 8 h 169"/>
                <a:gd name="T38" fmla="*/ 187 w 254"/>
                <a:gd name="T39" fmla="*/ 22 h 169"/>
                <a:gd name="T40" fmla="*/ 192 w 254"/>
                <a:gd name="T41" fmla="*/ 44 h 169"/>
                <a:gd name="T42" fmla="*/ 205 w 254"/>
                <a:gd name="T43" fmla="*/ 49 h 169"/>
                <a:gd name="T44" fmla="*/ 219 w 254"/>
                <a:gd name="T45" fmla="*/ 44 h 169"/>
                <a:gd name="T46" fmla="*/ 223 w 254"/>
                <a:gd name="T47" fmla="*/ 53 h 169"/>
                <a:gd name="T48" fmla="*/ 232 w 254"/>
                <a:gd name="T49" fmla="*/ 58 h 169"/>
                <a:gd name="T50" fmla="*/ 241 w 254"/>
                <a:gd name="T51" fmla="*/ 58 h 169"/>
                <a:gd name="T52" fmla="*/ 250 w 254"/>
                <a:gd name="T53" fmla="*/ 71 h 169"/>
                <a:gd name="T54" fmla="*/ 250 w 254"/>
                <a:gd name="T55" fmla="*/ 80 h 169"/>
                <a:gd name="T56" fmla="*/ 250 w 254"/>
                <a:gd name="T57" fmla="*/ 93 h 169"/>
                <a:gd name="T58" fmla="*/ 232 w 254"/>
                <a:gd name="T59" fmla="*/ 111 h 169"/>
                <a:gd name="T60" fmla="*/ 205 w 254"/>
                <a:gd name="T61" fmla="*/ 120 h 169"/>
                <a:gd name="T62" fmla="*/ 192 w 254"/>
                <a:gd name="T63" fmla="*/ 125 h 169"/>
                <a:gd name="T64" fmla="*/ 183 w 254"/>
                <a:gd name="T65" fmla="*/ 125 h 169"/>
                <a:gd name="T66" fmla="*/ 192 w 254"/>
                <a:gd name="T67" fmla="*/ 147 h 169"/>
                <a:gd name="T68" fmla="*/ 201 w 254"/>
                <a:gd name="T69" fmla="*/ 156 h 169"/>
                <a:gd name="T70" fmla="*/ 192 w 254"/>
                <a:gd name="T71" fmla="*/ 156 h 169"/>
                <a:gd name="T72" fmla="*/ 178 w 254"/>
                <a:gd name="T73" fmla="*/ 160 h 169"/>
                <a:gd name="T74" fmla="*/ 156 w 254"/>
                <a:gd name="T75" fmla="*/ 165 h 169"/>
                <a:gd name="T76" fmla="*/ 160 w 254"/>
                <a:gd name="T77" fmla="*/ 151 h 169"/>
                <a:gd name="T78" fmla="*/ 147 w 254"/>
                <a:gd name="T79" fmla="*/ 147 h 169"/>
                <a:gd name="T80" fmla="*/ 165 w 254"/>
                <a:gd name="T81" fmla="*/ 138 h 169"/>
                <a:gd name="T82" fmla="*/ 156 w 254"/>
                <a:gd name="T83" fmla="*/ 129 h 169"/>
                <a:gd name="T84" fmla="*/ 138 w 254"/>
                <a:gd name="T85" fmla="*/ 129 h 169"/>
                <a:gd name="T86" fmla="*/ 138 w 254"/>
                <a:gd name="T87" fmla="*/ 120 h 169"/>
                <a:gd name="T88" fmla="*/ 116 w 254"/>
                <a:gd name="T89" fmla="*/ 129 h 169"/>
                <a:gd name="T90" fmla="*/ 111 w 254"/>
                <a:gd name="T91" fmla="*/ 129 h 169"/>
                <a:gd name="T92" fmla="*/ 111 w 254"/>
                <a:gd name="T93" fmla="*/ 143 h 169"/>
                <a:gd name="T94" fmla="*/ 102 w 254"/>
                <a:gd name="T95" fmla="*/ 151 h 169"/>
                <a:gd name="T96" fmla="*/ 89 w 254"/>
                <a:gd name="T97" fmla="*/ 156 h 169"/>
                <a:gd name="T98" fmla="*/ 80 w 254"/>
                <a:gd name="T99" fmla="*/ 147 h 169"/>
                <a:gd name="T100" fmla="*/ 93 w 254"/>
                <a:gd name="T101" fmla="*/ 143 h 169"/>
                <a:gd name="T102" fmla="*/ 93 w 254"/>
                <a:gd name="T103" fmla="*/ 129 h 169"/>
                <a:gd name="T104" fmla="*/ 98 w 254"/>
                <a:gd name="T105" fmla="*/ 129 h 169"/>
                <a:gd name="T106" fmla="*/ 107 w 254"/>
                <a:gd name="T107" fmla="*/ 129 h 169"/>
                <a:gd name="T108" fmla="*/ 102 w 254"/>
                <a:gd name="T109" fmla="*/ 111 h 169"/>
                <a:gd name="T110" fmla="*/ 89 w 254"/>
                <a:gd name="T111" fmla="*/ 93 h 169"/>
                <a:gd name="T112" fmla="*/ 80 w 254"/>
                <a:gd name="T113" fmla="*/ 89 h 169"/>
                <a:gd name="T114" fmla="*/ 76 w 254"/>
                <a:gd name="T115" fmla="*/ 89 h 169"/>
                <a:gd name="T116" fmla="*/ 40 w 254"/>
                <a:gd name="T117" fmla="*/ 98 h 169"/>
                <a:gd name="T118" fmla="*/ 9 w 254"/>
                <a:gd name="T119" fmla="*/ 98 h 1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54"/>
                <a:gd name="T181" fmla="*/ 0 h 169"/>
                <a:gd name="T182" fmla="*/ 254 w 254"/>
                <a:gd name="T183" fmla="*/ 169 h 1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54" h="169">
                  <a:moveTo>
                    <a:pt x="0" y="84"/>
                  </a:moveTo>
                  <a:lnTo>
                    <a:pt x="4" y="71"/>
                  </a:lnTo>
                  <a:lnTo>
                    <a:pt x="9" y="71"/>
                  </a:lnTo>
                  <a:lnTo>
                    <a:pt x="4" y="67"/>
                  </a:lnTo>
                  <a:lnTo>
                    <a:pt x="13" y="53"/>
                  </a:lnTo>
                  <a:lnTo>
                    <a:pt x="22" y="49"/>
                  </a:lnTo>
                  <a:lnTo>
                    <a:pt x="26" y="44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17"/>
                  </a:lnTo>
                  <a:lnTo>
                    <a:pt x="18" y="13"/>
                  </a:lnTo>
                  <a:lnTo>
                    <a:pt x="26" y="17"/>
                  </a:lnTo>
                  <a:lnTo>
                    <a:pt x="31" y="8"/>
                  </a:lnTo>
                  <a:lnTo>
                    <a:pt x="35" y="4"/>
                  </a:lnTo>
                  <a:lnTo>
                    <a:pt x="49" y="8"/>
                  </a:lnTo>
                  <a:lnTo>
                    <a:pt x="58" y="13"/>
                  </a:lnTo>
                  <a:lnTo>
                    <a:pt x="71" y="8"/>
                  </a:lnTo>
                  <a:lnTo>
                    <a:pt x="76" y="13"/>
                  </a:lnTo>
                  <a:lnTo>
                    <a:pt x="80" y="22"/>
                  </a:lnTo>
                  <a:lnTo>
                    <a:pt x="80" y="17"/>
                  </a:lnTo>
                  <a:lnTo>
                    <a:pt x="89" y="17"/>
                  </a:lnTo>
                  <a:lnTo>
                    <a:pt x="89" y="13"/>
                  </a:lnTo>
                  <a:lnTo>
                    <a:pt x="93" y="17"/>
                  </a:lnTo>
                  <a:lnTo>
                    <a:pt x="98" y="13"/>
                  </a:lnTo>
                  <a:lnTo>
                    <a:pt x="102" y="22"/>
                  </a:lnTo>
                  <a:lnTo>
                    <a:pt x="111" y="17"/>
                  </a:lnTo>
                  <a:lnTo>
                    <a:pt x="120" y="22"/>
                  </a:lnTo>
                  <a:lnTo>
                    <a:pt x="120" y="17"/>
                  </a:lnTo>
                  <a:lnTo>
                    <a:pt x="120" y="13"/>
                  </a:lnTo>
                  <a:lnTo>
                    <a:pt x="125" y="0"/>
                  </a:lnTo>
                  <a:lnTo>
                    <a:pt x="134" y="4"/>
                  </a:lnTo>
                  <a:lnTo>
                    <a:pt x="138" y="4"/>
                  </a:lnTo>
                  <a:lnTo>
                    <a:pt x="143" y="0"/>
                  </a:lnTo>
                  <a:lnTo>
                    <a:pt x="147" y="4"/>
                  </a:lnTo>
                  <a:lnTo>
                    <a:pt x="156" y="0"/>
                  </a:lnTo>
                  <a:lnTo>
                    <a:pt x="165" y="0"/>
                  </a:lnTo>
                  <a:lnTo>
                    <a:pt x="169" y="8"/>
                  </a:lnTo>
                  <a:lnTo>
                    <a:pt x="174" y="8"/>
                  </a:lnTo>
                  <a:lnTo>
                    <a:pt x="169" y="17"/>
                  </a:lnTo>
                  <a:lnTo>
                    <a:pt x="187" y="22"/>
                  </a:lnTo>
                  <a:lnTo>
                    <a:pt x="187" y="31"/>
                  </a:lnTo>
                  <a:lnTo>
                    <a:pt x="192" y="44"/>
                  </a:lnTo>
                  <a:lnTo>
                    <a:pt x="201" y="44"/>
                  </a:lnTo>
                  <a:lnTo>
                    <a:pt x="205" y="49"/>
                  </a:lnTo>
                  <a:lnTo>
                    <a:pt x="210" y="44"/>
                  </a:lnTo>
                  <a:lnTo>
                    <a:pt x="219" y="44"/>
                  </a:lnTo>
                  <a:lnTo>
                    <a:pt x="223" y="49"/>
                  </a:lnTo>
                  <a:lnTo>
                    <a:pt x="223" y="53"/>
                  </a:lnTo>
                  <a:lnTo>
                    <a:pt x="232" y="53"/>
                  </a:lnTo>
                  <a:lnTo>
                    <a:pt x="232" y="58"/>
                  </a:lnTo>
                  <a:lnTo>
                    <a:pt x="236" y="53"/>
                  </a:lnTo>
                  <a:lnTo>
                    <a:pt x="241" y="58"/>
                  </a:lnTo>
                  <a:lnTo>
                    <a:pt x="254" y="67"/>
                  </a:lnTo>
                  <a:lnTo>
                    <a:pt x="250" y="71"/>
                  </a:lnTo>
                  <a:lnTo>
                    <a:pt x="254" y="75"/>
                  </a:lnTo>
                  <a:lnTo>
                    <a:pt x="250" y="80"/>
                  </a:lnTo>
                  <a:lnTo>
                    <a:pt x="254" y="84"/>
                  </a:lnTo>
                  <a:lnTo>
                    <a:pt x="250" y="93"/>
                  </a:lnTo>
                  <a:lnTo>
                    <a:pt x="241" y="98"/>
                  </a:lnTo>
                  <a:lnTo>
                    <a:pt x="232" y="111"/>
                  </a:lnTo>
                  <a:lnTo>
                    <a:pt x="223" y="111"/>
                  </a:lnTo>
                  <a:lnTo>
                    <a:pt x="205" y="120"/>
                  </a:lnTo>
                  <a:lnTo>
                    <a:pt x="196" y="125"/>
                  </a:lnTo>
                  <a:lnTo>
                    <a:pt x="192" y="125"/>
                  </a:lnTo>
                  <a:lnTo>
                    <a:pt x="187" y="129"/>
                  </a:lnTo>
                  <a:lnTo>
                    <a:pt x="183" y="125"/>
                  </a:lnTo>
                  <a:lnTo>
                    <a:pt x="174" y="134"/>
                  </a:lnTo>
                  <a:lnTo>
                    <a:pt x="192" y="147"/>
                  </a:lnTo>
                  <a:lnTo>
                    <a:pt x="205" y="147"/>
                  </a:lnTo>
                  <a:lnTo>
                    <a:pt x="201" y="156"/>
                  </a:lnTo>
                  <a:lnTo>
                    <a:pt x="196" y="156"/>
                  </a:lnTo>
                  <a:lnTo>
                    <a:pt x="192" y="156"/>
                  </a:lnTo>
                  <a:lnTo>
                    <a:pt x="183" y="160"/>
                  </a:lnTo>
                  <a:lnTo>
                    <a:pt x="178" y="160"/>
                  </a:lnTo>
                  <a:lnTo>
                    <a:pt x="169" y="169"/>
                  </a:lnTo>
                  <a:lnTo>
                    <a:pt x="156" y="165"/>
                  </a:lnTo>
                  <a:lnTo>
                    <a:pt x="160" y="160"/>
                  </a:lnTo>
                  <a:lnTo>
                    <a:pt x="160" y="151"/>
                  </a:lnTo>
                  <a:lnTo>
                    <a:pt x="156" y="151"/>
                  </a:lnTo>
                  <a:lnTo>
                    <a:pt x="147" y="147"/>
                  </a:lnTo>
                  <a:lnTo>
                    <a:pt x="156" y="138"/>
                  </a:lnTo>
                  <a:lnTo>
                    <a:pt x="165" y="138"/>
                  </a:lnTo>
                  <a:lnTo>
                    <a:pt x="160" y="134"/>
                  </a:lnTo>
                  <a:lnTo>
                    <a:pt x="156" y="129"/>
                  </a:lnTo>
                  <a:lnTo>
                    <a:pt x="134" y="134"/>
                  </a:lnTo>
                  <a:lnTo>
                    <a:pt x="138" y="129"/>
                  </a:lnTo>
                  <a:lnTo>
                    <a:pt x="129" y="125"/>
                  </a:lnTo>
                  <a:lnTo>
                    <a:pt x="138" y="120"/>
                  </a:lnTo>
                  <a:lnTo>
                    <a:pt x="125" y="125"/>
                  </a:lnTo>
                  <a:lnTo>
                    <a:pt x="116" y="129"/>
                  </a:lnTo>
                  <a:lnTo>
                    <a:pt x="111" y="125"/>
                  </a:lnTo>
                  <a:lnTo>
                    <a:pt x="111" y="129"/>
                  </a:lnTo>
                  <a:lnTo>
                    <a:pt x="116" y="134"/>
                  </a:lnTo>
                  <a:lnTo>
                    <a:pt x="111" y="143"/>
                  </a:lnTo>
                  <a:lnTo>
                    <a:pt x="102" y="147"/>
                  </a:lnTo>
                  <a:lnTo>
                    <a:pt x="102" y="151"/>
                  </a:lnTo>
                  <a:lnTo>
                    <a:pt x="98" y="151"/>
                  </a:lnTo>
                  <a:lnTo>
                    <a:pt x="89" y="156"/>
                  </a:lnTo>
                  <a:lnTo>
                    <a:pt x="85" y="151"/>
                  </a:lnTo>
                  <a:lnTo>
                    <a:pt x="80" y="147"/>
                  </a:lnTo>
                  <a:lnTo>
                    <a:pt x="89" y="147"/>
                  </a:lnTo>
                  <a:lnTo>
                    <a:pt x="93" y="143"/>
                  </a:lnTo>
                  <a:lnTo>
                    <a:pt x="93" y="138"/>
                  </a:lnTo>
                  <a:lnTo>
                    <a:pt x="93" y="129"/>
                  </a:lnTo>
                  <a:lnTo>
                    <a:pt x="98" y="134"/>
                  </a:lnTo>
                  <a:lnTo>
                    <a:pt x="98" y="129"/>
                  </a:lnTo>
                  <a:lnTo>
                    <a:pt x="102" y="129"/>
                  </a:lnTo>
                  <a:lnTo>
                    <a:pt x="107" y="129"/>
                  </a:lnTo>
                  <a:lnTo>
                    <a:pt x="107" y="120"/>
                  </a:lnTo>
                  <a:lnTo>
                    <a:pt x="102" y="111"/>
                  </a:lnTo>
                  <a:lnTo>
                    <a:pt x="102" y="102"/>
                  </a:lnTo>
                  <a:lnTo>
                    <a:pt x="89" y="93"/>
                  </a:lnTo>
                  <a:lnTo>
                    <a:pt x="85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76" y="89"/>
                  </a:lnTo>
                  <a:lnTo>
                    <a:pt x="62" y="89"/>
                  </a:lnTo>
                  <a:lnTo>
                    <a:pt x="40" y="98"/>
                  </a:lnTo>
                  <a:lnTo>
                    <a:pt x="13" y="93"/>
                  </a:lnTo>
                  <a:lnTo>
                    <a:pt x="9" y="98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13" name="Freeform 235"/>
            <p:cNvSpPr>
              <a:spLocks/>
            </p:cNvSpPr>
            <p:nvPr/>
          </p:nvSpPr>
          <p:spPr bwMode="gray">
            <a:xfrm>
              <a:off x="3022" y="2096"/>
              <a:ext cx="36" cy="35"/>
            </a:xfrm>
            <a:custGeom>
              <a:avLst/>
              <a:gdLst>
                <a:gd name="T0" fmla="*/ 9 w 36"/>
                <a:gd name="T1" fmla="*/ 35 h 35"/>
                <a:gd name="T2" fmla="*/ 0 w 36"/>
                <a:gd name="T3" fmla="*/ 31 h 35"/>
                <a:gd name="T4" fmla="*/ 0 w 36"/>
                <a:gd name="T5" fmla="*/ 8 h 35"/>
                <a:gd name="T6" fmla="*/ 9 w 36"/>
                <a:gd name="T7" fmla="*/ 4 h 35"/>
                <a:gd name="T8" fmla="*/ 9 w 36"/>
                <a:gd name="T9" fmla="*/ 4 h 35"/>
                <a:gd name="T10" fmla="*/ 23 w 36"/>
                <a:gd name="T11" fmla="*/ 0 h 35"/>
                <a:gd name="T12" fmla="*/ 27 w 36"/>
                <a:gd name="T13" fmla="*/ 4 h 35"/>
                <a:gd name="T14" fmla="*/ 36 w 36"/>
                <a:gd name="T15" fmla="*/ 8 h 35"/>
                <a:gd name="T16" fmla="*/ 36 w 36"/>
                <a:gd name="T17" fmla="*/ 22 h 35"/>
                <a:gd name="T18" fmla="*/ 27 w 36"/>
                <a:gd name="T19" fmla="*/ 26 h 35"/>
                <a:gd name="T20" fmla="*/ 23 w 36"/>
                <a:gd name="T21" fmla="*/ 26 h 35"/>
                <a:gd name="T22" fmla="*/ 18 w 36"/>
                <a:gd name="T23" fmla="*/ 31 h 35"/>
                <a:gd name="T24" fmla="*/ 9 w 36"/>
                <a:gd name="T25" fmla="*/ 35 h 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6"/>
                <a:gd name="T40" fmla="*/ 0 h 35"/>
                <a:gd name="T41" fmla="*/ 36 w 36"/>
                <a:gd name="T42" fmla="*/ 35 h 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6" h="35">
                  <a:moveTo>
                    <a:pt x="9" y="35"/>
                  </a:moveTo>
                  <a:lnTo>
                    <a:pt x="0" y="31"/>
                  </a:lnTo>
                  <a:lnTo>
                    <a:pt x="0" y="8"/>
                  </a:lnTo>
                  <a:lnTo>
                    <a:pt x="9" y="4"/>
                  </a:lnTo>
                  <a:lnTo>
                    <a:pt x="23" y="0"/>
                  </a:lnTo>
                  <a:lnTo>
                    <a:pt x="27" y="4"/>
                  </a:lnTo>
                  <a:lnTo>
                    <a:pt x="36" y="8"/>
                  </a:lnTo>
                  <a:lnTo>
                    <a:pt x="36" y="22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18" y="31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14" name="Freeform 236"/>
            <p:cNvSpPr>
              <a:spLocks noEditPoints="1"/>
            </p:cNvSpPr>
            <p:nvPr/>
          </p:nvSpPr>
          <p:spPr bwMode="gray">
            <a:xfrm>
              <a:off x="2607" y="1667"/>
              <a:ext cx="147" cy="272"/>
            </a:xfrm>
            <a:custGeom>
              <a:avLst/>
              <a:gdLst>
                <a:gd name="T0" fmla="*/ 22 w 147"/>
                <a:gd name="T1" fmla="*/ 71 h 272"/>
                <a:gd name="T2" fmla="*/ 31 w 147"/>
                <a:gd name="T3" fmla="*/ 53 h 272"/>
                <a:gd name="T4" fmla="*/ 18 w 147"/>
                <a:gd name="T5" fmla="*/ 80 h 272"/>
                <a:gd name="T6" fmla="*/ 13 w 147"/>
                <a:gd name="T7" fmla="*/ 165 h 272"/>
                <a:gd name="T8" fmla="*/ 4 w 147"/>
                <a:gd name="T9" fmla="*/ 156 h 272"/>
                <a:gd name="T10" fmla="*/ 22 w 147"/>
                <a:gd name="T11" fmla="*/ 143 h 272"/>
                <a:gd name="T12" fmla="*/ 36 w 147"/>
                <a:gd name="T13" fmla="*/ 156 h 272"/>
                <a:gd name="T14" fmla="*/ 36 w 147"/>
                <a:gd name="T15" fmla="*/ 89 h 272"/>
                <a:gd name="T16" fmla="*/ 27 w 147"/>
                <a:gd name="T17" fmla="*/ 80 h 272"/>
                <a:gd name="T18" fmla="*/ 31 w 147"/>
                <a:gd name="T19" fmla="*/ 93 h 272"/>
                <a:gd name="T20" fmla="*/ 76 w 147"/>
                <a:gd name="T21" fmla="*/ 49 h 272"/>
                <a:gd name="T22" fmla="*/ 45 w 147"/>
                <a:gd name="T23" fmla="*/ 62 h 272"/>
                <a:gd name="T24" fmla="*/ 36 w 147"/>
                <a:gd name="T25" fmla="*/ 98 h 272"/>
                <a:gd name="T26" fmla="*/ 27 w 147"/>
                <a:gd name="T27" fmla="*/ 107 h 272"/>
                <a:gd name="T28" fmla="*/ 36 w 147"/>
                <a:gd name="T29" fmla="*/ 111 h 272"/>
                <a:gd name="T30" fmla="*/ 36 w 147"/>
                <a:gd name="T31" fmla="*/ 120 h 272"/>
                <a:gd name="T32" fmla="*/ 40 w 147"/>
                <a:gd name="T33" fmla="*/ 138 h 272"/>
                <a:gd name="T34" fmla="*/ 45 w 147"/>
                <a:gd name="T35" fmla="*/ 125 h 272"/>
                <a:gd name="T36" fmla="*/ 54 w 147"/>
                <a:gd name="T37" fmla="*/ 143 h 272"/>
                <a:gd name="T38" fmla="*/ 58 w 147"/>
                <a:gd name="T39" fmla="*/ 156 h 272"/>
                <a:gd name="T40" fmla="*/ 71 w 147"/>
                <a:gd name="T41" fmla="*/ 151 h 272"/>
                <a:gd name="T42" fmla="*/ 76 w 147"/>
                <a:gd name="T43" fmla="*/ 174 h 272"/>
                <a:gd name="T44" fmla="*/ 76 w 147"/>
                <a:gd name="T45" fmla="*/ 183 h 272"/>
                <a:gd name="T46" fmla="*/ 54 w 147"/>
                <a:gd name="T47" fmla="*/ 187 h 272"/>
                <a:gd name="T48" fmla="*/ 67 w 147"/>
                <a:gd name="T49" fmla="*/ 196 h 272"/>
                <a:gd name="T50" fmla="*/ 45 w 147"/>
                <a:gd name="T51" fmla="*/ 223 h 272"/>
                <a:gd name="T52" fmla="*/ 67 w 147"/>
                <a:gd name="T53" fmla="*/ 232 h 272"/>
                <a:gd name="T54" fmla="*/ 76 w 147"/>
                <a:gd name="T55" fmla="*/ 236 h 272"/>
                <a:gd name="T56" fmla="*/ 49 w 147"/>
                <a:gd name="T57" fmla="*/ 254 h 272"/>
                <a:gd name="T58" fmla="*/ 40 w 147"/>
                <a:gd name="T59" fmla="*/ 268 h 272"/>
                <a:gd name="T60" fmla="*/ 58 w 147"/>
                <a:gd name="T61" fmla="*/ 259 h 272"/>
                <a:gd name="T62" fmla="*/ 89 w 147"/>
                <a:gd name="T63" fmla="*/ 254 h 272"/>
                <a:gd name="T64" fmla="*/ 98 w 147"/>
                <a:gd name="T65" fmla="*/ 254 h 272"/>
                <a:gd name="T66" fmla="*/ 121 w 147"/>
                <a:gd name="T67" fmla="*/ 250 h 272"/>
                <a:gd name="T68" fmla="*/ 143 w 147"/>
                <a:gd name="T69" fmla="*/ 232 h 272"/>
                <a:gd name="T70" fmla="*/ 143 w 147"/>
                <a:gd name="T71" fmla="*/ 223 h 272"/>
                <a:gd name="T72" fmla="*/ 129 w 147"/>
                <a:gd name="T73" fmla="*/ 201 h 272"/>
                <a:gd name="T74" fmla="*/ 121 w 147"/>
                <a:gd name="T75" fmla="*/ 183 h 272"/>
                <a:gd name="T76" fmla="*/ 103 w 147"/>
                <a:gd name="T77" fmla="*/ 151 h 272"/>
                <a:gd name="T78" fmla="*/ 85 w 147"/>
                <a:gd name="T79" fmla="*/ 125 h 272"/>
                <a:gd name="T80" fmla="*/ 89 w 147"/>
                <a:gd name="T81" fmla="*/ 111 h 272"/>
                <a:gd name="T82" fmla="*/ 98 w 147"/>
                <a:gd name="T83" fmla="*/ 80 h 272"/>
                <a:gd name="T84" fmla="*/ 62 w 147"/>
                <a:gd name="T85" fmla="*/ 80 h 272"/>
                <a:gd name="T86" fmla="*/ 67 w 147"/>
                <a:gd name="T87" fmla="*/ 71 h 272"/>
                <a:gd name="T88" fmla="*/ 76 w 147"/>
                <a:gd name="T89" fmla="*/ 44 h 272"/>
                <a:gd name="T90" fmla="*/ 76 w 147"/>
                <a:gd name="T91" fmla="*/ 40 h 272"/>
                <a:gd name="T92" fmla="*/ 107 w 147"/>
                <a:gd name="T93" fmla="*/ 13 h 272"/>
                <a:gd name="T94" fmla="*/ 103 w 147"/>
                <a:gd name="T95" fmla="*/ 17 h 27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7"/>
                <a:gd name="T145" fmla="*/ 0 h 272"/>
                <a:gd name="T146" fmla="*/ 147 w 147"/>
                <a:gd name="T147" fmla="*/ 272 h 27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7" h="272">
                  <a:moveTo>
                    <a:pt x="13" y="98"/>
                  </a:moveTo>
                  <a:lnTo>
                    <a:pt x="18" y="93"/>
                  </a:lnTo>
                  <a:lnTo>
                    <a:pt x="22" y="76"/>
                  </a:lnTo>
                  <a:lnTo>
                    <a:pt x="22" y="71"/>
                  </a:lnTo>
                  <a:lnTo>
                    <a:pt x="27" y="67"/>
                  </a:lnTo>
                  <a:lnTo>
                    <a:pt x="31" y="58"/>
                  </a:lnTo>
                  <a:lnTo>
                    <a:pt x="31" y="53"/>
                  </a:lnTo>
                  <a:lnTo>
                    <a:pt x="22" y="58"/>
                  </a:lnTo>
                  <a:lnTo>
                    <a:pt x="18" y="76"/>
                  </a:lnTo>
                  <a:lnTo>
                    <a:pt x="13" y="76"/>
                  </a:lnTo>
                  <a:lnTo>
                    <a:pt x="18" y="80"/>
                  </a:lnTo>
                  <a:lnTo>
                    <a:pt x="13" y="98"/>
                  </a:lnTo>
                  <a:close/>
                  <a:moveTo>
                    <a:pt x="27" y="169"/>
                  </a:moveTo>
                  <a:lnTo>
                    <a:pt x="22" y="169"/>
                  </a:lnTo>
                  <a:lnTo>
                    <a:pt x="13" y="165"/>
                  </a:lnTo>
                  <a:lnTo>
                    <a:pt x="13" y="174"/>
                  </a:lnTo>
                  <a:lnTo>
                    <a:pt x="0" y="169"/>
                  </a:lnTo>
                  <a:lnTo>
                    <a:pt x="0" y="165"/>
                  </a:lnTo>
                  <a:lnTo>
                    <a:pt x="4" y="156"/>
                  </a:lnTo>
                  <a:lnTo>
                    <a:pt x="9" y="156"/>
                  </a:lnTo>
                  <a:lnTo>
                    <a:pt x="13" y="151"/>
                  </a:lnTo>
                  <a:lnTo>
                    <a:pt x="18" y="143"/>
                  </a:lnTo>
                  <a:lnTo>
                    <a:pt x="22" y="143"/>
                  </a:lnTo>
                  <a:lnTo>
                    <a:pt x="31" y="143"/>
                  </a:lnTo>
                  <a:lnTo>
                    <a:pt x="36" y="151"/>
                  </a:lnTo>
                  <a:lnTo>
                    <a:pt x="31" y="156"/>
                  </a:lnTo>
                  <a:lnTo>
                    <a:pt x="36" y="156"/>
                  </a:lnTo>
                  <a:lnTo>
                    <a:pt x="40" y="160"/>
                  </a:lnTo>
                  <a:lnTo>
                    <a:pt x="36" y="165"/>
                  </a:lnTo>
                  <a:lnTo>
                    <a:pt x="27" y="169"/>
                  </a:lnTo>
                  <a:close/>
                  <a:moveTo>
                    <a:pt x="36" y="89"/>
                  </a:moveTo>
                  <a:lnTo>
                    <a:pt x="31" y="84"/>
                  </a:lnTo>
                  <a:lnTo>
                    <a:pt x="31" y="80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22" y="89"/>
                  </a:lnTo>
                  <a:lnTo>
                    <a:pt x="27" y="89"/>
                  </a:lnTo>
                  <a:lnTo>
                    <a:pt x="27" y="93"/>
                  </a:lnTo>
                  <a:lnTo>
                    <a:pt x="31" y="93"/>
                  </a:lnTo>
                  <a:lnTo>
                    <a:pt x="36" y="89"/>
                  </a:lnTo>
                  <a:close/>
                  <a:moveTo>
                    <a:pt x="62" y="71"/>
                  </a:moveTo>
                  <a:lnTo>
                    <a:pt x="76" y="58"/>
                  </a:lnTo>
                  <a:lnTo>
                    <a:pt x="76" y="49"/>
                  </a:lnTo>
                  <a:lnTo>
                    <a:pt x="58" y="53"/>
                  </a:lnTo>
                  <a:lnTo>
                    <a:pt x="49" y="49"/>
                  </a:lnTo>
                  <a:lnTo>
                    <a:pt x="45" y="62"/>
                  </a:lnTo>
                  <a:lnTo>
                    <a:pt x="40" y="67"/>
                  </a:lnTo>
                  <a:lnTo>
                    <a:pt x="36" y="71"/>
                  </a:lnTo>
                  <a:lnTo>
                    <a:pt x="36" y="84"/>
                  </a:lnTo>
                  <a:lnTo>
                    <a:pt x="36" y="98"/>
                  </a:lnTo>
                  <a:lnTo>
                    <a:pt x="36" y="102"/>
                  </a:lnTo>
                  <a:lnTo>
                    <a:pt x="36" y="107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31" y="111"/>
                  </a:lnTo>
                  <a:lnTo>
                    <a:pt x="27" y="111"/>
                  </a:lnTo>
                  <a:lnTo>
                    <a:pt x="27" y="116"/>
                  </a:lnTo>
                  <a:lnTo>
                    <a:pt x="36" y="111"/>
                  </a:lnTo>
                  <a:lnTo>
                    <a:pt x="45" y="102"/>
                  </a:lnTo>
                  <a:lnTo>
                    <a:pt x="49" y="102"/>
                  </a:lnTo>
                  <a:lnTo>
                    <a:pt x="36" y="120"/>
                  </a:lnTo>
                  <a:lnTo>
                    <a:pt x="31" y="125"/>
                  </a:lnTo>
                  <a:lnTo>
                    <a:pt x="36" y="125"/>
                  </a:lnTo>
                  <a:lnTo>
                    <a:pt x="40" y="134"/>
                  </a:lnTo>
                  <a:lnTo>
                    <a:pt x="40" y="138"/>
                  </a:lnTo>
                  <a:lnTo>
                    <a:pt x="45" y="138"/>
                  </a:lnTo>
                  <a:lnTo>
                    <a:pt x="45" y="134"/>
                  </a:lnTo>
                  <a:lnTo>
                    <a:pt x="49" y="134"/>
                  </a:lnTo>
                  <a:lnTo>
                    <a:pt x="45" y="125"/>
                  </a:lnTo>
                  <a:lnTo>
                    <a:pt x="49" y="125"/>
                  </a:lnTo>
                  <a:lnTo>
                    <a:pt x="49" y="134"/>
                  </a:lnTo>
                  <a:lnTo>
                    <a:pt x="54" y="134"/>
                  </a:lnTo>
                  <a:lnTo>
                    <a:pt x="54" y="143"/>
                  </a:lnTo>
                  <a:lnTo>
                    <a:pt x="49" y="151"/>
                  </a:lnTo>
                  <a:lnTo>
                    <a:pt x="54" y="160"/>
                  </a:lnTo>
                  <a:lnTo>
                    <a:pt x="54" y="156"/>
                  </a:lnTo>
                  <a:lnTo>
                    <a:pt x="58" y="156"/>
                  </a:lnTo>
                  <a:lnTo>
                    <a:pt x="62" y="156"/>
                  </a:lnTo>
                  <a:lnTo>
                    <a:pt x="58" y="151"/>
                  </a:lnTo>
                  <a:lnTo>
                    <a:pt x="67" y="156"/>
                  </a:lnTo>
                  <a:lnTo>
                    <a:pt x="71" y="151"/>
                  </a:lnTo>
                  <a:lnTo>
                    <a:pt x="80" y="151"/>
                  </a:lnTo>
                  <a:lnTo>
                    <a:pt x="76" y="156"/>
                  </a:lnTo>
                  <a:lnTo>
                    <a:pt x="71" y="160"/>
                  </a:lnTo>
                  <a:lnTo>
                    <a:pt x="76" y="174"/>
                  </a:lnTo>
                  <a:lnTo>
                    <a:pt x="80" y="169"/>
                  </a:lnTo>
                  <a:lnTo>
                    <a:pt x="85" y="169"/>
                  </a:lnTo>
                  <a:lnTo>
                    <a:pt x="76" y="174"/>
                  </a:lnTo>
                  <a:lnTo>
                    <a:pt x="76" y="183"/>
                  </a:lnTo>
                  <a:lnTo>
                    <a:pt x="80" y="187"/>
                  </a:lnTo>
                  <a:lnTo>
                    <a:pt x="62" y="187"/>
                  </a:lnTo>
                  <a:lnTo>
                    <a:pt x="58" y="187"/>
                  </a:lnTo>
                  <a:lnTo>
                    <a:pt x="54" y="187"/>
                  </a:lnTo>
                  <a:lnTo>
                    <a:pt x="58" y="192"/>
                  </a:lnTo>
                  <a:lnTo>
                    <a:pt x="54" y="201"/>
                  </a:lnTo>
                  <a:lnTo>
                    <a:pt x="62" y="196"/>
                  </a:lnTo>
                  <a:lnTo>
                    <a:pt x="67" y="196"/>
                  </a:lnTo>
                  <a:lnTo>
                    <a:pt x="67" y="205"/>
                  </a:lnTo>
                  <a:lnTo>
                    <a:pt x="67" y="210"/>
                  </a:lnTo>
                  <a:lnTo>
                    <a:pt x="62" y="219"/>
                  </a:lnTo>
                  <a:lnTo>
                    <a:pt x="45" y="223"/>
                  </a:lnTo>
                  <a:lnTo>
                    <a:pt x="49" y="232"/>
                  </a:lnTo>
                  <a:lnTo>
                    <a:pt x="58" y="223"/>
                  </a:lnTo>
                  <a:lnTo>
                    <a:pt x="62" y="232"/>
                  </a:lnTo>
                  <a:lnTo>
                    <a:pt x="67" y="232"/>
                  </a:lnTo>
                  <a:lnTo>
                    <a:pt x="71" y="232"/>
                  </a:lnTo>
                  <a:lnTo>
                    <a:pt x="76" y="227"/>
                  </a:lnTo>
                  <a:lnTo>
                    <a:pt x="80" y="227"/>
                  </a:lnTo>
                  <a:lnTo>
                    <a:pt x="76" y="236"/>
                  </a:lnTo>
                  <a:lnTo>
                    <a:pt x="62" y="241"/>
                  </a:lnTo>
                  <a:lnTo>
                    <a:pt x="58" y="245"/>
                  </a:lnTo>
                  <a:lnTo>
                    <a:pt x="54" y="250"/>
                  </a:lnTo>
                  <a:lnTo>
                    <a:pt x="49" y="254"/>
                  </a:lnTo>
                  <a:lnTo>
                    <a:pt x="45" y="259"/>
                  </a:lnTo>
                  <a:lnTo>
                    <a:pt x="40" y="263"/>
                  </a:lnTo>
                  <a:lnTo>
                    <a:pt x="36" y="268"/>
                  </a:lnTo>
                  <a:lnTo>
                    <a:pt x="40" y="268"/>
                  </a:lnTo>
                  <a:lnTo>
                    <a:pt x="45" y="268"/>
                  </a:lnTo>
                  <a:lnTo>
                    <a:pt x="45" y="272"/>
                  </a:lnTo>
                  <a:lnTo>
                    <a:pt x="49" y="263"/>
                  </a:lnTo>
                  <a:lnTo>
                    <a:pt x="58" y="259"/>
                  </a:lnTo>
                  <a:lnTo>
                    <a:pt x="71" y="263"/>
                  </a:lnTo>
                  <a:lnTo>
                    <a:pt x="71" y="254"/>
                  </a:lnTo>
                  <a:lnTo>
                    <a:pt x="85" y="250"/>
                  </a:lnTo>
                  <a:lnTo>
                    <a:pt x="89" y="254"/>
                  </a:lnTo>
                  <a:lnTo>
                    <a:pt x="89" y="259"/>
                  </a:lnTo>
                  <a:lnTo>
                    <a:pt x="94" y="254"/>
                  </a:lnTo>
                  <a:lnTo>
                    <a:pt x="98" y="254"/>
                  </a:lnTo>
                  <a:lnTo>
                    <a:pt x="103" y="254"/>
                  </a:lnTo>
                  <a:lnTo>
                    <a:pt x="103" y="250"/>
                  </a:lnTo>
                  <a:lnTo>
                    <a:pt x="112" y="254"/>
                  </a:lnTo>
                  <a:lnTo>
                    <a:pt x="121" y="250"/>
                  </a:lnTo>
                  <a:lnTo>
                    <a:pt x="125" y="250"/>
                  </a:lnTo>
                  <a:lnTo>
                    <a:pt x="138" y="250"/>
                  </a:lnTo>
                  <a:lnTo>
                    <a:pt x="143" y="241"/>
                  </a:lnTo>
                  <a:lnTo>
                    <a:pt x="143" y="232"/>
                  </a:lnTo>
                  <a:lnTo>
                    <a:pt x="134" y="232"/>
                  </a:lnTo>
                  <a:lnTo>
                    <a:pt x="129" y="232"/>
                  </a:lnTo>
                  <a:lnTo>
                    <a:pt x="138" y="223"/>
                  </a:lnTo>
                  <a:lnTo>
                    <a:pt x="143" y="223"/>
                  </a:lnTo>
                  <a:lnTo>
                    <a:pt x="147" y="214"/>
                  </a:lnTo>
                  <a:lnTo>
                    <a:pt x="147" y="205"/>
                  </a:lnTo>
                  <a:lnTo>
                    <a:pt x="143" y="201"/>
                  </a:lnTo>
                  <a:lnTo>
                    <a:pt x="129" y="201"/>
                  </a:lnTo>
                  <a:lnTo>
                    <a:pt x="125" y="205"/>
                  </a:lnTo>
                  <a:lnTo>
                    <a:pt x="121" y="201"/>
                  </a:lnTo>
                  <a:lnTo>
                    <a:pt x="125" y="192"/>
                  </a:lnTo>
                  <a:lnTo>
                    <a:pt x="121" y="183"/>
                  </a:lnTo>
                  <a:lnTo>
                    <a:pt x="121" y="178"/>
                  </a:lnTo>
                  <a:lnTo>
                    <a:pt x="112" y="160"/>
                  </a:lnTo>
                  <a:lnTo>
                    <a:pt x="107" y="160"/>
                  </a:lnTo>
                  <a:lnTo>
                    <a:pt x="103" y="151"/>
                  </a:lnTo>
                  <a:lnTo>
                    <a:pt x="103" y="147"/>
                  </a:lnTo>
                  <a:lnTo>
                    <a:pt x="98" y="134"/>
                  </a:lnTo>
                  <a:lnTo>
                    <a:pt x="94" y="129"/>
                  </a:lnTo>
                  <a:lnTo>
                    <a:pt x="85" y="125"/>
                  </a:lnTo>
                  <a:lnTo>
                    <a:pt x="76" y="125"/>
                  </a:lnTo>
                  <a:lnTo>
                    <a:pt x="80" y="116"/>
                  </a:lnTo>
                  <a:lnTo>
                    <a:pt x="85" y="120"/>
                  </a:lnTo>
                  <a:lnTo>
                    <a:pt x="89" y="111"/>
                  </a:lnTo>
                  <a:lnTo>
                    <a:pt x="85" y="116"/>
                  </a:lnTo>
                  <a:lnTo>
                    <a:pt x="85" y="107"/>
                  </a:lnTo>
                  <a:lnTo>
                    <a:pt x="85" y="98"/>
                  </a:lnTo>
                  <a:lnTo>
                    <a:pt x="98" y="80"/>
                  </a:lnTo>
                  <a:lnTo>
                    <a:pt x="98" y="76"/>
                  </a:lnTo>
                  <a:lnTo>
                    <a:pt x="89" y="80"/>
                  </a:lnTo>
                  <a:lnTo>
                    <a:pt x="71" y="76"/>
                  </a:lnTo>
                  <a:lnTo>
                    <a:pt x="62" y="80"/>
                  </a:lnTo>
                  <a:lnTo>
                    <a:pt x="58" y="84"/>
                  </a:lnTo>
                  <a:lnTo>
                    <a:pt x="62" y="76"/>
                  </a:lnTo>
                  <a:lnTo>
                    <a:pt x="67" y="71"/>
                  </a:lnTo>
                  <a:lnTo>
                    <a:pt x="62" y="71"/>
                  </a:lnTo>
                  <a:close/>
                  <a:moveTo>
                    <a:pt x="71" y="35"/>
                  </a:moveTo>
                  <a:lnTo>
                    <a:pt x="71" y="44"/>
                  </a:lnTo>
                  <a:lnTo>
                    <a:pt x="76" y="44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31"/>
                  </a:lnTo>
                  <a:lnTo>
                    <a:pt x="71" y="35"/>
                  </a:lnTo>
                  <a:close/>
                  <a:moveTo>
                    <a:pt x="103" y="17"/>
                  </a:moveTo>
                  <a:lnTo>
                    <a:pt x="107" y="13"/>
                  </a:lnTo>
                  <a:lnTo>
                    <a:pt x="103" y="0"/>
                  </a:lnTo>
                  <a:lnTo>
                    <a:pt x="98" y="8"/>
                  </a:lnTo>
                  <a:lnTo>
                    <a:pt x="103" y="8"/>
                  </a:lnTo>
                  <a:lnTo>
                    <a:pt x="103" y="17"/>
                  </a:ln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15" name="Freeform 237"/>
            <p:cNvSpPr>
              <a:spLocks/>
            </p:cNvSpPr>
            <p:nvPr/>
          </p:nvSpPr>
          <p:spPr bwMode="gray">
            <a:xfrm>
              <a:off x="2991" y="2020"/>
              <a:ext cx="67" cy="84"/>
            </a:xfrm>
            <a:custGeom>
              <a:avLst/>
              <a:gdLst>
                <a:gd name="T0" fmla="*/ 0 w 67"/>
                <a:gd name="T1" fmla="*/ 67 h 84"/>
                <a:gd name="T2" fmla="*/ 0 w 67"/>
                <a:gd name="T3" fmla="*/ 67 h 84"/>
                <a:gd name="T4" fmla="*/ 0 w 67"/>
                <a:gd name="T5" fmla="*/ 67 h 84"/>
                <a:gd name="T6" fmla="*/ 0 w 67"/>
                <a:gd name="T7" fmla="*/ 62 h 84"/>
                <a:gd name="T8" fmla="*/ 0 w 67"/>
                <a:gd name="T9" fmla="*/ 62 h 84"/>
                <a:gd name="T10" fmla="*/ 0 w 67"/>
                <a:gd name="T11" fmla="*/ 58 h 84"/>
                <a:gd name="T12" fmla="*/ 5 w 67"/>
                <a:gd name="T13" fmla="*/ 53 h 84"/>
                <a:gd name="T14" fmla="*/ 5 w 67"/>
                <a:gd name="T15" fmla="*/ 53 h 84"/>
                <a:gd name="T16" fmla="*/ 5 w 67"/>
                <a:gd name="T17" fmla="*/ 53 h 84"/>
                <a:gd name="T18" fmla="*/ 5 w 67"/>
                <a:gd name="T19" fmla="*/ 49 h 84"/>
                <a:gd name="T20" fmla="*/ 9 w 67"/>
                <a:gd name="T21" fmla="*/ 49 h 84"/>
                <a:gd name="T22" fmla="*/ 13 w 67"/>
                <a:gd name="T23" fmla="*/ 44 h 84"/>
                <a:gd name="T24" fmla="*/ 9 w 67"/>
                <a:gd name="T25" fmla="*/ 40 h 84"/>
                <a:gd name="T26" fmla="*/ 13 w 67"/>
                <a:gd name="T27" fmla="*/ 40 h 84"/>
                <a:gd name="T28" fmla="*/ 13 w 67"/>
                <a:gd name="T29" fmla="*/ 40 h 84"/>
                <a:gd name="T30" fmla="*/ 5 w 67"/>
                <a:gd name="T31" fmla="*/ 35 h 84"/>
                <a:gd name="T32" fmla="*/ 5 w 67"/>
                <a:gd name="T33" fmla="*/ 31 h 84"/>
                <a:gd name="T34" fmla="*/ 9 w 67"/>
                <a:gd name="T35" fmla="*/ 26 h 84"/>
                <a:gd name="T36" fmla="*/ 9 w 67"/>
                <a:gd name="T37" fmla="*/ 22 h 84"/>
                <a:gd name="T38" fmla="*/ 5 w 67"/>
                <a:gd name="T39" fmla="*/ 22 h 84"/>
                <a:gd name="T40" fmla="*/ 5 w 67"/>
                <a:gd name="T41" fmla="*/ 17 h 84"/>
                <a:gd name="T42" fmla="*/ 9 w 67"/>
                <a:gd name="T43" fmla="*/ 17 h 84"/>
                <a:gd name="T44" fmla="*/ 9 w 67"/>
                <a:gd name="T45" fmla="*/ 13 h 84"/>
                <a:gd name="T46" fmla="*/ 5 w 67"/>
                <a:gd name="T47" fmla="*/ 13 h 84"/>
                <a:gd name="T48" fmla="*/ 5 w 67"/>
                <a:gd name="T49" fmla="*/ 13 h 84"/>
                <a:gd name="T50" fmla="*/ 5 w 67"/>
                <a:gd name="T51" fmla="*/ 9 h 84"/>
                <a:gd name="T52" fmla="*/ 5 w 67"/>
                <a:gd name="T53" fmla="*/ 9 h 84"/>
                <a:gd name="T54" fmla="*/ 5 w 67"/>
                <a:gd name="T55" fmla="*/ 4 h 84"/>
                <a:gd name="T56" fmla="*/ 0 w 67"/>
                <a:gd name="T57" fmla="*/ 4 h 84"/>
                <a:gd name="T58" fmla="*/ 13 w 67"/>
                <a:gd name="T59" fmla="*/ 0 h 84"/>
                <a:gd name="T60" fmla="*/ 27 w 67"/>
                <a:gd name="T61" fmla="*/ 0 h 84"/>
                <a:gd name="T62" fmla="*/ 31 w 67"/>
                <a:gd name="T63" fmla="*/ 9 h 84"/>
                <a:gd name="T64" fmla="*/ 31 w 67"/>
                <a:gd name="T65" fmla="*/ 17 h 84"/>
                <a:gd name="T66" fmla="*/ 40 w 67"/>
                <a:gd name="T67" fmla="*/ 26 h 84"/>
                <a:gd name="T68" fmla="*/ 49 w 67"/>
                <a:gd name="T69" fmla="*/ 31 h 84"/>
                <a:gd name="T70" fmla="*/ 54 w 67"/>
                <a:gd name="T71" fmla="*/ 31 h 84"/>
                <a:gd name="T72" fmla="*/ 54 w 67"/>
                <a:gd name="T73" fmla="*/ 35 h 84"/>
                <a:gd name="T74" fmla="*/ 58 w 67"/>
                <a:gd name="T75" fmla="*/ 35 h 84"/>
                <a:gd name="T76" fmla="*/ 54 w 67"/>
                <a:gd name="T77" fmla="*/ 53 h 84"/>
                <a:gd name="T78" fmla="*/ 67 w 67"/>
                <a:gd name="T79" fmla="*/ 62 h 84"/>
                <a:gd name="T80" fmla="*/ 67 w 67"/>
                <a:gd name="T81" fmla="*/ 67 h 84"/>
                <a:gd name="T82" fmla="*/ 58 w 67"/>
                <a:gd name="T83" fmla="*/ 71 h 84"/>
                <a:gd name="T84" fmla="*/ 58 w 67"/>
                <a:gd name="T85" fmla="*/ 80 h 84"/>
                <a:gd name="T86" fmla="*/ 54 w 67"/>
                <a:gd name="T87" fmla="*/ 76 h 84"/>
                <a:gd name="T88" fmla="*/ 40 w 67"/>
                <a:gd name="T89" fmla="*/ 80 h 84"/>
                <a:gd name="T90" fmla="*/ 40 w 67"/>
                <a:gd name="T91" fmla="*/ 80 h 84"/>
                <a:gd name="T92" fmla="*/ 31 w 67"/>
                <a:gd name="T93" fmla="*/ 84 h 84"/>
                <a:gd name="T94" fmla="*/ 27 w 67"/>
                <a:gd name="T95" fmla="*/ 84 h 84"/>
                <a:gd name="T96" fmla="*/ 27 w 67"/>
                <a:gd name="T97" fmla="*/ 76 h 84"/>
                <a:gd name="T98" fmla="*/ 18 w 67"/>
                <a:gd name="T99" fmla="*/ 71 h 84"/>
                <a:gd name="T100" fmla="*/ 13 w 67"/>
                <a:gd name="T101" fmla="*/ 84 h 84"/>
                <a:gd name="T102" fmla="*/ 9 w 67"/>
                <a:gd name="T103" fmla="*/ 84 h 84"/>
                <a:gd name="T104" fmla="*/ 0 w 67"/>
                <a:gd name="T105" fmla="*/ 71 h 84"/>
                <a:gd name="T106" fmla="*/ 0 w 67"/>
                <a:gd name="T107" fmla="*/ 71 h 84"/>
                <a:gd name="T108" fmla="*/ 0 w 67"/>
                <a:gd name="T109" fmla="*/ 67 h 8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7"/>
                <a:gd name="T166" fmla="*/ 0 h 84"/>
                <a:gd name="T167" fmla="*/ 67 w 67"/>
                <a:gd name="T168" fmla="*/ 84 h 8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7" h="84">
                  <a:moveTo>
                    <a:pt x="0" y="67"/>
                  </a:moveTo>
                  <a:lnTo>
                    <a:pt x="0" y="67"/>
                  </a:lnTo>
                  <a:lnTo>
                    <a:pt x="0" y="62"/>
                  </a:lnTo>
                  <a:lnTo>
                    <a:pt x="0" y="58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9" y="49"/>
                  </a:lnTo>
                  <a:lnTo>
                    <a:pt x="13" y="44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5" y="35"/>
                  </a:lnTo>
                  <a:lnTo>
                    <a:pt x="5" y="31"/>
                  </a:lnTo>
                  <a:lnTo>
                    <a:pt x="9" y="26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9" y="17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9"/>
                  </a:lnTo>
                  <a:lnTo>
                    <a:pt x="5" y="4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7" y="0"/>
                  </a:lnTo>
                  <a:lnTo>
                    <a:pt x="31" y="9"/>
                  </a:lnTo>
                  <a:lnTo>
                    <a:pt x="31" y="17"/>
                  </a:lnTo>
                  <a:lnTo>
                    <a:pt x="40" y="26"/>
                  </a:lnTo>
                  <a:lnTo>
                    <a:pt x="49" y="31"/>
                  </a:lnTo>
                  <a:lnTo>
                    <a:pt x="54" y="31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53"/>
                  </a:lnTo>
                  <a:lnTo>
                    <a:pt x="67" y="62"/>
                  </a:lnTo>
                  <a:lnTo>
                    <a:pt x="67" y="67"/>
                  </a:lnTo>
                  <a:lnTo>
                    <a:pt x="58" y="71"/>
                  </a:lnTo>
                  <a:lnTo>
                    <a:pt x="58" y="80"/>
                  </a:lnTo>
                  <a:lnTo>
                    <a:pt x="54" y="76"/>
                  </a:lnTo>
                  <a:lnTo>
                    <a:pt x="40" y="80"/>
                  </a:lnTo>
                  <a:lnTo>
                    <a:pt x="31" y="84"/>
                  </a:lnTo>
                  <a:lnTo>
                    <a:pt x="27" y="84"/>
                  </a:lnTo>
                  <a:lnTo>
                    <a:pt x="27" y="76"/>
                  </a:lnTo>
                  <a:lnTo>
                    <a:pt x="18" y="71"/>
                  </a:lnTo>
                  <a:lnTo>
                    <a:pt x="13" y="84"/>
                  </a:lnTo>
                  <a:lnTo>
                    <a:pt x="9" y="84"/>
                  </a:lnTo>
                  <a:lnTo>
                    <a:pt x="0" y="71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16" name="Freeform 238"/>
            <p:cNvSpPr>
              <a:spLocks/>
            </p:cNvSpPr>
            <p:nvPr/>
          </p:nvSpPr>
          <p:spPr bwMode="gray">
            <a:xfrm>
              <a:off x="2991" y="2091"/>
              <a:ext cx="13" cy="13"/>
            </a:xfrm>
            <a:custGeom>
              <a:avLst/>
              <a:gdLst>
                <a:gd name="T0" fmla="*/ 0 w 13"/>
                <a:gd name="T1" fmla="*/ 0 h 13"/>
                <a:gd name="T2" fmla="*/ 0 w 13"/>
                <a:gd name="T3" fmla="*/ 0 h 13"/>
                <a:gd name="T4" fmla="*/ 9 w 13"/>
                <a:gd name="T5" fmla="*/ 13 h 13"/>
                <a:gd name="T6" fmla="*/ 13 w 13"/>
                <a:gd name="T7" fmla="*/ 13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13"/>
                <a:gd name="T14" fmla="*/ 13 w 13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13">
                  <a:moveTo>
                    <a:pt x="0" y="0"/>
                  </a:moveTo>
                  <a:lnTo>
                    <a:pt x="0" y="0"/>
                  </a:lnTo>
                  <a:lnTo>
                    <a:pt x="9" y="13"/>
                  </a:lnTo>
                  <a:lnTo>
                    <a:pt x="13" y="13"/>
                  </a:lnTo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  <p:sp>
          <p:nvSpPr>
            <p:cNvPr id="317" name="Freeform 239"/>
            <p:cNvSpPr>
              <a:spLocks noEditPoints="1"/>
            </p:cNvSpPr>
            <p:nvPr/>
          </p:nvSpPr>
          <p:spPr bwMode="gray">
            <a:xfrm>
              <a:off x="2482" y="2069"/>
              <a:ext cx="317" cy="290"/>
            </a:xfrm>
            <a:custGeom>
              <a:avLst/>
              <a:gdLst>
                <a:gd name="T0" fmla="*/ 4 w 317"/>
                <a:gd name="T1" fmla="*/ 290 h 290"/>
                <a:gd name="T2" fmla="*/ 13 w 317"/>
                <a:gd name="T3" fmla="*/ 277 h 290"/>
                <a:gd name="T4" fmla="*/ 22 w 317"/>
                <a:gd name="T5" fmla="*/ 286 h 290"/>
                <a:gd name="T6" fmla="*/ 27 w 317"/>
                <a:gd name="T7" fmla="*/ 290 h 290"/>
                <a:gd name="T8" fmla="*/ 27 w 317"/>
                <a:gd name="T9" fmla="*/ 286 h 290"/>
                <a:gd name="T10" fmla="*/ 143 w 317"/>
                <a:gd name="T11" fmla="*/ 125 h 290"/>
                <a:gd name="T12" fmla="*/ 156 w 317"/>
                <a:gd name="T13" fmla="*/ 138 h 290"/>
                <a:gd name="T14" fmla="*/ 170 w 317"/>
                <a:gd name="T15" fmla="*/ 147 h 290"/>
                <a:gd name="T16" fmla="*/ 179 w 317"/>
                <a:gd name="T17" fmla="*/ 143 h 290"/>
                <a:gd name="T18" fmla="*/ 196 w 317"/>
                <a:gd name="T19" fmla="*/ 138 h 290"/>
                <a:gd name="T20" fmla="*/ 205 w 317"/>
                <a:gd name="T21" fmla="*/ 138 h 290"/>
                <a:gd name="T22" fmla="*/ 219 w 317"/>
                <a:gd name="T23" fmla="*/ 134 h 290"/>
                <a:gd name="T24" fmla="*/ 228 w 317"/>
                <a:gd name="T25" fmla="*/ 125 h 290"/>
                <a:gd name="T26" fmla="*/ 241 w 317"/>
                <a:gd name="T27" fmla="*/ 111 h 290"/>
                <a:gd name="T28" fmla="*/ 250 w 317"/>
                <a:gd name="T29" fmla="*/ 98 h 290"/>
                <a:gd name="T30" fmla="*/ 241 w 317"/>
                <a:gd name="T31" fmla="*/ 89 h 290"/>
                <a:gd name="T32" fmla="*/ 263 w 317"/>
                <a:gd name="T33" fmla="*/ 53 h 290"/>
                <a:gd name="T34" fmla="*/ 295 w 317"/>
                <a:gd name="T35" fmla="*/ 35 h 290"/>
                <a:gd name="T36" fmla="*/ 295 w 317"/>
                <a:gd name="T37" fmla="*/ 31 h 290"/>
                <a:gd name="T38" fmla="*/ 295 w 317"/>
                <a:gd name="T39" fmla="*/ 27 h 290"/>
                <a:gd name="T40" fmla="*/ 277 w 317"/>
                <a:gd name="T41" fmla="*/ 27 h 290"/>
                <a:gd name="T42" fmla="*/ 259 w 317"/>
                <a:gd name="T43" fmla="*/ 22 h 290"/>
                <a:gd name="T44" fmla="*/ 241 w 317"/>
                <a:gd name="T45" fmla="*/ 22 h 290"/>
                <a:gd name="T46" fmla="*/ 223 w 317"/>
                <a:gd name="T47" fmla="*/ 4 h 290"/>
                <a:gd name="T48" fmla="*/ 214 w 317"/>
                <a:gd name="T49" fmla="*/ 4 h 290"/>
                <a:gd name="T50" fmla="*/ 201 w 317"/>
                <a:gd name="T51" fmla="*/ 4 h 290"/>
                <a:gd name="T52" fmla="*/ 179 w 317"/>
                <a:gd name="T53" fmla="*/ 4 h 290"/>
                <a:gd name="T54" fmla="*/ 170 w 317"/>
                <a:gd name="T55" fmla="*/ 0 h 290"/>
                <a:gd name="T56" fmla="*/ 152 w 317"/>
                <a:gd name="T57" fmla="*/ 4 h 290"/>
                <a:gd name="T58" fmla="*/ 143 w 317"/>
                <a:gd name="T59" fmla="*/ 0 h 290"/>
                <a:gd name="T60" fmla="*/ 125 w 317"/>
                <a:gd name="T61" fmla="*/ 0 h 290"/>
                <a:gd name="T62" fmla="*/ 116 w 317"/>
                <a:gd name="T63" fmla="*/ 4 h 290"/>
                <a:gd name="T64" fmla="*/ 112 w 317"/>
                <a:gd name="T65" fmla="*/ 18 h 290"/>
                <a:gd name="T66" fmla="*/ 116 w 317"/>
                <a:gd name="T67" fmla="*/ 22 h 290"/>
                <a:gd name="T68" fmla="*/ 116 w 317"/>
                <a:gd name="T69" fmla="*/ 31 h 290"/>
                <a:gd name="T70" fmla="*/ 129 w 317"/>
                <a:gd name="T71" fmla="*/ 31 h 290"/>
                <a:gd name="T72" fmla="*/ 152 w 317"/>
                <a:gd name="T73" fmla="*/ 40 h 290"/>
                <a:gd name="T74" fmla="*/ 152 w 317"/>
                <a:gd name="T75" fmla="*/ 53 h 290"/>
                <a:gd name="T76" fmla="*/ 147 w 317"/>
                <a:gd name="T77" fmla="*/ 71 h 290"/>
                <a:gd name="T78" fmla="*/ 138 w 317"/>
                <a:gd name="T79" fmla="*/ 85 h 290"/>
                <a:gd name="T80" fmla="*/ 143 w 317"/>
                <a:gd name="T81" fmla="*/ 107 h 290"/>
                <a:gd name="T82" fmla="*/ 143 w 317"/>
                <a:gd name="T83" fmla="*/ 116 h 290"/>
                <a:gd name="T84" fmla="*/ 268 w 317"/>
                <a:gd name="T85" fmla="*/ 94 h 290"/>
                <a:gd name="T86" fmla="*/ 268 w 317"/>
                <a:gd name="T87" fmla="*/ 103 h 290"/>
                <a:gd name="T88" fmla="*/ 272 w 317"/>
                <a:gd name="T89" fmla="*/ 103 h 290"/>
                <a:gd name="T90" fmla="*/ 272 w 317"/>
                <a:gd name="T91" fmla="*/ 94 h 290"/>
                <a:gd name="T92" fmla="*/ 286 w 317"/>
                <a:gd name="T93" fmla="*/ 85 h 290"/>
                <a:gd name="T94" fmla="*/ 290 w 317"/>
                <a:gd name="T95" fmla="*/ 89 h 290"/>
                <a:gd name="T96" fmla="*/ 304 w 317"/>
                <a:gd name="T97" fmla="*/ 85 h 290"/>
                <a:gd name="T98" fmla="*/ 299 w 317"/>
                <a:gd name="T99" fmla="*/ 76 h 290"/>
                <a:gd name="T100" fmla="*/ 290 w 317"/>
                <a:gd name="T101" fmla="*/ 80 h 290"/>
                <a:gd name="T102" fmla="*/ 308 w 317"/>
                <a:gd name="T103" fmla="*/ 71 h 290"/>
                <a:gd name="T104" fmla="*/ 317 w 317"/>
                <a:gd name="T105" fmla="*/ 80 h 290"/>
                <a:gd name="T106" fmla="*/ 308 w 317"/>
                <a:gd name="T107" fmla="*/ 71 h 29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17"/>
                <a:gd name="T163" fmla="*/ 0 h 290"/>
                <a:gd name="T164" fmla="*/ 317 w 317"/>
                <a:gd name="T165" fmla="*/ 290 h 29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17" h="290">
                  <a:moveTo>
                    <a:pt x="0" y="281"/>
                  </a:moveTo>
                  <a:lnTo>
                    <a:pt x="4" y="290"/>
                  </a:lnTo>
                  <a:lnTo>
                    <a:pt x="13" y="286"/>
                  </a:lnTo>
                  <a:lnTo>
                    <a:pt x="13" y="277"/>
                  </a:lnTo>
                  <a:lnTo>
                    <a:pt x="0" y="281"/>
                  </a:lnTo>
                  <a:close/>
                  <a:moveTo>
                    <a:pt x="22" y="286"/>
                  </a:moveTo>
                  <a:lnTo>
                    <a:pt x="18" y="290"/>
                  </a:lnTo>
                  <a:lnTo>
                    <a:pt x="27" y="290"/>
                  </a:lnTo>
                  <a:lnTo>
                    <a:pt x="27" y="286"/>
                  </a:lnTo>
                  <a:lnTo>
                    <a:pt x="22" y="286"/>
                  </a:lnTo>
                  <a:close/>
                  <a:moveTo>
                    <a:pt x="143" y="125"/>
                  </a:moveTo>
                  <a:lnTo>
                    <a:pt x="156" y="134"/>
                  </a:lnTo>
                  <a:lnTo>
                    <a:pt x="156" y="138"/>
                  </a:lnTo>
                  <a:lnTo>
                    <a:pt x="156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79" y="143"/>
                  </a:lnTo>
                  <a:lnTo>
                    <a:pt x="187" y="134"/>
                  </a:lnTo>
                  <a:lnTo>
                    <a:pt x="196" y="138"/>
                  </a:lnTo>
                  <a:lnTo>
                    <a:pt x="205" y="134"/>
                  </a:lnTo>
                  <a:lnTo>
                    <a:pt x="205" y="138"/>
                  </a:lnTo>
                  <a:lnTo>
                    <a:pt x="214" y="134"/>
                  </a:lnTo>
                  <a:lnTo>
                    <a:pt x="219" y="134"/>
                  </a:lnTo>
                  <a:lnTo>
                    <a:pt x="223" y="129"/>
                  </a:lnTo>
                  <a:lnTo>
                    <a:pt x="228" y="125"/>
                  </a:lnTo>
                  <a:lnTo>
                    <a:pt x="237" y="125"/>
                  </a:lnTo>
                  <a:lnTo>
                    <a:pt x="241" y="111"/>
                  </a:lnTo>
                  <a:lnTo>
                    <a:pt x="246" y="103"/>
                  </a:lnTo>
                  <a:lnTo>
                    <a:pt x="250" y="98"/>
                  </a:lnTo>
                  <a:lnTo>
                    <a:pt x="246" y="98"/>
                  </a:lnTo>
                  <a:lnTo>
                    <a:pt x="241" y="89"/>
                  </a:lnTo>
                  <a:lnTo>
                    <a:pt x="241" y="85"/>
                  </a:lnTo>
                  <a:lnTo>
                    <a:pt x="263" y="53"/>
                  </a:lnTo>
                  <a:lnTo>
                    <a:pt x="281" y="49"/>
                  </a:lnTo>
                  <a:lnTo>
                    <a:pt x="295" y="35"/>
                  </a:lnTo>
                  <a:lnTo>
                    <a:pt x="295" y="31"/>
                  </a:lnTo>
                  <a:lnTo>
                    <a:pt x="299" y="27"/>
                  </a:lnTo>
                  <a:lnTo>
                    <a:pt x="295" y="27"/>
                  </a:lnTo>
                  <a:lnTo>
                    <a:pt x="286" y="27"/>
                  </a:lnTo>
                  <a:lnTo>
                    <a:pt x="277" y="27"/>
                  </a:lnTo>
                  <a:lnTo>
                    <a:pt x="268" y="22"/>
                  </a:lnTo>
                  <a:lnTo>
                    <a:pt x="259" y="22"/>
                  </a:lnTo>
                  <a:lnTo>
                    <a:pt x="246" y="22"/>
                  </a:lnTo>
                  <a:lnTo>
                    <a:pt x="241" y="22"/>
                  </a:lnTo>
                  <a:lnTo>
                    <a:pt x="228" y="13"/>
                  </a:lnTo>
                  <a:lnTo>
                    <a:pt x="223" y="4"/>
                  </a:lnTo>
                  <a:lnTo>
                    <a:pt x="214" y="9"/>
                  </a:lnTo>
                  <a:lnTo>
                    <a:pt x="214" y="4"/>
                  </a:lnTo>
                  <a:lnTo>
                    <a:pt x="205" y="4"/>
                  </a:lnTo>
                  <a:lnTo>
                    <a:pt x="201" y="4"/>
                  </a:lnTo>
                  <a:lnTo>
                    <a:pt x="192" y="4"/>
                  </a:lnTo>
                  <a:lnTo>
                    <a:pt x="179" y="4"/>
                  </a:lnTo>
                  <a:lnTo>
                    <a:pt x="170" y="4"/>
                  </a:lnTo>
                  <a:lnTo>
                    <a:pt x="170" y="0"/>
                  </a:lnTo>
                  <a:lnTo>
                    <a:pt x="161" y="0"/>
                  </a:lnTo>
                  <a:lnTo>
                    <a:pt x="152" y="4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25" y="0"/>
                  </a:lnTo>
                  <a:lnTo>
                    <a:pt x="129" y="4"/>
                  </a:lnTo>
                  <a:lnTo>
                    <a:pt x="116" y="4"/>
                  </a:lnTo>
                  <a:lnTo>
                    <a:pt x="112" y="9"/>
                  </a:lnTo>
                  <a:lnTo>
                    <a:pt x="112" y="18"/>
                  </a:lnTo>
                  <a:lnTo>
                    <a:pt x="116" y="18"/>
                  </a:lnTo>
                  <a:lnTo>
                    <a:pt x="116" y="22"/>
                  </a:lnTo>
                  <a:lnTo>
                    <a:pt x="120" y="27"/>
                  </a:lnTo>
                  <a:lnTo>
                    <a:pt x="116" y="31"/>
                  </a:lnTo>
                  <a:lnTo>
                    <a:pt x="120" y="35"/>
                  </a:lnTo>
                  <a:lnTo>
                    <a:pt x="129" y="31"/>
                  </a:lnTo>
                  <a:lnTo>
                    <a:pt x="134" y="40"/>
                  </a:lnTo>
                  <a:lnTo>
                    <a:pt x="152" y="40"/>
                  </a:lnTo>
                  <a:lnTo>
                    <a:pt x="161" y="44"/>
                  </a:lnTo>
                  <a:lnTo>
                    <a:pt x="152" y="53"/>
                  </a:lnTo>
                  <a:lnTo>
                    <a:pt x="147" y="67"/>
                  </a:lnTo>
                  <a:lnTo>
                    <a:pt x="147" y="71"/>
                  </a:lnTo>
                  <a:lnTo>
                    <a:pt x="147" y="80"/>
                  </a:lnTo>
                  <a:lnTo>
                    <a:pt x="138" y="85"/>
                  </a:lnTo>
                  <a:lnTo>
                    <a:pt x="147" y="98"/>
                  </a:lnTo>
                  <a:lnTo>
                    <a:pt x="143" y="107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3" y="125"/>
                  </a:lnTo>
                  <a:close/>
                  <a:moveTo>
                    <a:pt x="268" y="94"/>
                  </a:moveTo>
                  <a:lnTo>
                    <a:pt x="263" y="98"/>
                  </a:lnTo>
                  <a:lnTo>
                    <a:pt x="268" y="103"/>
                  </a:lnTo>
                  <a:lnTo>
                    <a:pt x="272" y="103"/>
                  </a:lnTo>
                  <a:lnTo>
                    <a:pt x="268" y="98"/>
                  </a:lnTo>
                  <a:lnTo>
                    <a:pt x="272" y="94"/>
                  </a:lnTo>
                  <a:lnTo>
                    <a:pt x="268" y="94"/>
                  </a:lnTo>
                  <a:close/>
                  <a:moveTo>
                    <a:pt x="286" y="85"/>
                  </a:moveTo>
                  <a:lnTo>
                    <a:pt x="286" y="85"/>
                  </a:lnTo>
                  <a:lnTo>
                    <a:pt x="290" y="89"/>
                  </a:lnTo>
                  <a:lnTo>
                    <a:pt x="299" y="89"/>
                  </a:lnTo>
                  <a:lnTo>
                    <a:pt x="304" y="85"/>
                  </a:lnTo>
                  <a:lnTo>
                    <a:pt x="304" y="80"/>
                  </a:lnTo>
                  <a:lnTo>
                    <a:pt x="299" y="76"/>
                  </a:lnTo>
                  <a:lnTo>
                    <a:pt x="290" y="80"/>
                  </a:lnTo>
                  <a:lnTo>
                    <a:pt x="286" y="85"/>
                  </a:lnTo>
                  <a:close/>
                  <a:moveTo>
                    <a:pt x="308" y="71"/>
                  </a:moveTo>
                  <a:lnTo>
                    <a:pt x="308" y="80"/>
                  </a:lnTo>
                  <a:lnTo>
                    <a:pt x="317" y="80"/>
                  </a:lnTo>
                  <a:lnTo>
                    <a:pt x="313" y="71"/>
                  </a:lnTo>
                  <a:lnTo>
                    <a:pt x="308" y="71"/>
                  </a:lnTo>
                  <a:close/>
                </a:path>
              </a:pathLst>
            </a:custGeom>
            <a:solidFill>
              <a:srgbClr val="DDDDDD"/>
            </a:solidFill>
            <a:ln w="3175">
              <a:solidFill>
                <a:srgbClr val="C0C0C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900"/>
            </a:p>
          </p:txBody>
        </p:sp>
      </p:grpSp>
      <p:sp>
        <p:nvSpPr>
          <p:cNvPr id="322" name="Rectangle 19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055864" y="5178814"/>
            <a:ext cx="992187" cy="673100"/>
          </a:xfrm>
          <a:prstGeom prst="rect">
            <a:avLst/>
          </a:prstGeom>
          <a:solidFill>
            <a:srgbClr val="004165"/>
          </a:soli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AU" altLang="zh-TW" sz="1050" b="1" dirty="0">
                <a:solidFill>
                  <a:schemeClr val="bg1"/>
                </a:solidFill>
                <a:ea typeface="PMingLiU" charset="-120"/>
              </a:rPr>
              <a:t>Aus/NZ-</a:t>
            </a:r>
            <a:br>
              <a:rPr lang="en-AU" altLang="zh-TW" sz="1050" b="1" dirty="0">
                <a:solidFill>
                  <a:schemeClr val="bg1"/>
                </a:solidFill>
                <a:ea typeface="PMingLiU" charset="-120"/>
              </a:rPr>
            </a:br>
            <a:r>
              <a:rPr lang="en-AU" altLang="zh-TW" sz="1050" b="1" dirty="0">
                <a:solidFill>
                  <a:schemeClr val="bg1"/>
                </a:solidFill>
                <a:ea typeface="PMingLiU" charset="-120"/>
              </a:rPr>
              <a:t>E&amp;A</a:t>
            </a:r>
          </a:p>
          <a:p>
            <a:pPr algn="ctr"/>
            <a:r>
              <a:rPr lang="en-AU" altLang="zh-TW" sz="1050" dirty="0">
                <a:solidFill>
                  <a:schemeClr val="bg1"/>
                </a:solidFill>
                <a:ea typeface="PMingLiU" charset="-120"/>
              </a:rPr>
              <a:t>Trade: US$101b</a:t>
            </a:r>
          </a:p>
        </p:txBody>
      </p:sp>
      <p:sp>
        <p:nvSpPr>
          <p:cNvPr id="323" name="Rectangle 19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947988" y="3246433"/>
            <a:ext cx="992187" cy="673100"/>
          </a:xfrm>
          <a:prstGeom prst="rect">
            <a:avLst/>
          </a:prstGeom>
          <a:solidFill>
            <a:schemeClr val="hlink"/>
          </a:soli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AU" altLang="zh-TW" sz="1050" b="1">
                <a:solidFill>
                  <a:schemeClr val="bg1"/>
                </a:solidFill>
                <a:ea typeface="PMingLiU" charset="-120"/>
              </a:rPr>
              <a:t>Intra-</a:t>
            </a:r>
          </a:p>
          <a:p>
            <a:pPr algn="ctr"/>
            <a:r>
              <a:rPr lang="en-AU" altLang="zh-TW" sz="1050" b="1">
                <a:solidFill>
                  <a:schemeClr val="bg1"/>
                </a:solidFill>
                <a:ea typeface="PMingLiU" charset="-120"/>
              </a:rPr>
              <a:t>Asia</a:t>
            </a:r>
          </a:p>
          <a:p>
            <a:pPr algn="ctr"/>
            <a:r>
              <a:rPr lang="en-AU" altLang="zh-TW" sz="1050">
                <a:solidFill>
                  <a:schemeClr val="bg1"/>
                </a:solidFill>
                <a:ea typeface="PMingLiU" charset="-120"/>
              </a:rPr>
              <a:t>Trade:</a:t>
            </a:r>
          </a:p>
          <a:p>
            <a:pPr algn="ctr"/>
            <a:r>
              <a:rPr lang="en-AU" altLang="zh-TW" sz="1050">
                <a:solidFill>
                  <a:schemeClr val="bg1"/>
                </a:solidFill>
                <a:ea typeface="PMingLiU" charset="-120"/>
              </a:rPr>
              <a:t>US$1.6trn</a:t>
            </a:r>
          </a:p>
        </p:txBody>
      </p:sp>
      <p:sp>
        <p:nvSpPr>
          <p:cNvPr id="324" name="Rectangle 19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58900" y="2930521"/>
            <a:ext cx="990600" cy="673100"/>
          </a:xfrm>
          <a:prstGeom prst="rect">
            <a:avLst/>
          </a:prstGeom>
          <a:solidFill>
            <a:srgbClr val="004165"/>
          </a:soli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AU" altLang="zh-TW" sz="1050" b="1">
                <a:solidFill>
                  <a:schemeClr val="bg1"/>
                </a:solidFill>
                <a:ea typeface="PMingLiU" charset="-120"/>
              </a:rPr>
              <a:t>Asia-Europe</a:t>
            </a:r>
          </a:p>
          <a:p>
            <a:pPr algn="ctr"/>
            <a:r>
              <a:rPr lang="en-AU" altLang="zh-TW" sz="1050">
                <a:solidFill>
                  <a:schemeClr val="bg1"/>
                </a:solidFill>
                <a:ea typeface="PMingLiU" charset="-120"/>
              </a:rPr>
              <a:t>Trade: US$1.0trn</a:t>
            </a:r>
          </a:p>
        </p:txBody>
      </p:sp>
      <p:sp>
        <p:nvSpPr>
          <p:cNvPr id="325" name="Rectangle 28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414168" y="5452867"/>
            <a:ext cx="992187" cy="673100"/>
          </a:xfrm>
          <a:prstGeom prst="rect">
            <a:avLst/>
          </a:prstGeom>
          <a:solidFill>
            <a:srgbClr val="004165"/>
          </a:soli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AU" altLang="zh-TW" sz="1050" b="1" dirty="0">
                <a:solidFill>
                  <a:schemeClr val="bg1"/>
                </a:solidFill>
                <a:ea typeface="PMingLiU" charset="-120"/>
              </a:rPr>
              <a:t>Aus/NZ-Asia</a:t>
            </a:r>
          </a:p>
          <a:p>
            <a:pPr algn="ctr"/>
            <a:r>
              <a:rPr lang="en-AU" altLang="zh-TW" sz="1050" dirty="0">
                <a:solidFill>
                  <a:schemeClr val="bg1"/>
                </a:solidFill>
                <a:ea typeface="PMingLiU" charset="-120"/>
              </a:rPr>
              <a:t>Trade: US$235b</a:t>
            </a:r>
          </a:p>
        </p:txBody>
      </p:sp>
      <p:sp>
        <p:nvSpPr>
          <p:cNvPr id="326" name="Rounded Rectangle 23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85720" y="3809996"/>
            <a:ext cx="1302185" cy="274637"/>
          </a:xfrm>
          <a:prstGeom prst="roundRect">
            <a:avLst>
              <a:gd name="adj" fmla="val 16667"/>
            </a:avLst>
          </a:prstGeom>
          <a:noFill/>
          <a:ln w="254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AU" sz="1050" b="1" dirty="0" smtClean="0">
                <a:solidFill>
                  <a:srgbClr val="004165"/>
                </a:solidFill>
              </a:rPr>
              <a:t>Europe</a:t>
            </a:r>
            <a:endParaRPr lang="en-AU" sz="1050" b="1" dirty="0">
              <a:solidFill>
                <a:srgbClr val="004165"/>
              </a:solidFill>
            </a:endParaRPr>
          </a:p>
        </p:txBody>
      </p:sp>
      <p:sp>
        <p:nvSpPr>
          <p:cNvPr id="327" name="Rectangle 24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073775" y="3144833"/>
            <a:ext cx="990600" cy="673100"/>
          </a:xfrm>
          <a:prstGeom prst="rect">
            <a:avLst/>
          </a:prstGeom>
          <a:solidFill>
            <a:srgbClr val="004165"/>
          </a:soli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AU" altLang="zh-TW" sz="1050" b="1">
                <a:solidFill>
                  <a:schemeClr val="bg1"/>
                </a:solidFill>
                <a:ea typeface="PMingLiU" charset="-120"/>
              </a:rPr>
              <a:t>Asia-US</a:t>
            </a:r>
          </a:p>
          <a:p>
            <a:pPr algn="ctr"/>
            <a:r>
              <a:rPr lang="en-AU" altLang="zh-TW" sz="1050">
                <a:solidFill>
                  <a:schemeClr val="bg1"/>
                </a:solidFill>
                <a:ea typeface="PMingLiU" charset="-120"/>
              </a:rPr>
              <a:t>Trade: US$0.8trn</a:t>
            </a:r>
          </a:p>
        </p:txBody>
      </p:sp>
      <p:sp>
        <p:nvSpPr>
          <p:cNvPr id="328" name="Rounded Rectangle 23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81850" y="4283300"/>
            <a:ext cx="1187464" cy="274637"/>
          </a:xfrm>
          <a:prstGeom prst="roundRect">
            <a:avLst>
              <a:gd name="adj" fmla="val 16667"/>
            </a:avLst>
          </a:prstGeom>
          <a:noFill/>
          <a:ln w="2540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r>
              <a:rPr lang="en-AU" sz="1050" b="1" dirty="0" smtClean="0">
                <a:solidFill>
                  <a:srgbClr val="004165"/>
                </a:solidFill>
              </a:rPr>
              <a:t>America</a:t>
            </a:r>
            <a:endParaRPr lang="en-AU" sz="1050" b="1" dirty="0">
              <a:solidFill>
                <a:srgbClr val="004165"/>
              </a:solidFill>
            </a:endParaRPr>
          </a:p>
        </p:txBody>
      </p:sp>
      <p:sp>
        <p:nvSpPr>
          <p:cNvPr id="37921" name="Oval 28"/>
          <p:cNvSpPr>
            <a:spLocks noChangeArrowheads="1"/>
          </p:cNvSpPr>
          <p:nvPr/>
        </p:nvSpPr>
        <p:spPr bwMode="auto">
          <a:xfrm>
            <a:off x="1609941" y="4004651"/>
            <a:ext cx="35966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7929" name="Oval 37"/>
          <p:cNvSpPr>
            <a:spLocks noChangeArrowheads="1"/>
          </p:cNvSpPr>
          <p:nvPr/>
        </p:nvSpPr>
        <p:spPr bwMode="auto">
          <a:xfrm>
            <a:off x="1392692" y="3982266"/>
            <a:ext cx="35966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34" name="Oval 61"/>
          <p:cNvSpPr>
            <a:spLocks noChangeArrowheads="1"/>
          </p:cNvSpPr>
          <p:nvPr/>
        </p:nvSpPr>
        <p:spPr bwMode="auto">
          <a:xfrm>
            <a:off x="1830002" y="6406061"/>
            <a:ext cx="101514" cy="111503"/>
          </a:xfrm>
          <a:prstGeom prst="ellipse">
            <a:avLst/>
          </a:prstGeom>
          <a:solidFill>
            <a:srgbClr val="FF9933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35" name="TextBox 334"/>
          <p:cNvSpPr txBox="1"/>
          <p:nvPr/>
        </p:nvSpPr>
        <p:spPr>
          <a:xfrm>
            <a:off x="2004136" y="6105407"/>
            <a:ext cx="13660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100" b="0" dirty="0" smtClean="0"/>
              <a:t>ANZ Trade office</a:t>
            </a:r>
            <a:endParaRPr lang="en-AU" sz="1100" b="0" dirty="0"/>
          </a:p>
        </p:txBody>
      </p:sp>
      <p:sp>
        <p:nvSpPr>
          <p:cNvPr id="336" name="TextBox 335"/>
          <p:cNvSpPr txBox="1"/>
          <p:nvPr/>
        </p:nvSpPr>
        <p:spPr>
          <a:xfrm>
            <a:off x="1999092" y="6322880"/>
            <a:ext cx="21483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100" b="0" dirty="0" smtClean="0"/>
              <a:t>ANZ Trade Processing ‘Hub’</a:t>
            </a:r>
            <a:endParaRPr lang="en-AU" sz="1100" b="0" dirty="0"/>
          </a:p>
        </p:txBody>
      </p:sp>
      <p:sp>
        <p:nvSpPr>
          <p:cNvPr id="37922" name="Oval 29"/>
          <p:cNvSpPr>
            <a:spLocks noChangeArrowheads="1"/>
          </p:cNvSpPr>
          <p:nvPr/>
        </p:nvSpPr>
        <p:spPr bwMode="auto">
          <a:xfrm>
            <a:off x="4250313" y="578179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7927" name="Oval 35"/>
          <p:cNvSpPr>
            <a:spLocks noChangeArrowheads="1"/>
          </p:cNvSpPr>
          <p:nvPr/>
        </p:nvSpPr>
        <p:spPr bwMode="auto">
          <a:xfrm>
            <a:off x="2459036" y="4618243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40" name="Oval 29"/>
          <p:cNvSpPr>
            <a:spLocks noChangeArrowheads="1"/>
          </p:cNvSpPr>
          <p:nvPr/>
        </p:nvSpPr>
        <p:spPr bwMode="auto">
          <a:xfrm>
            <a:off x="6951603" y="442543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43" name="Oval 29"/>
          <p:cNvSpPr>
            <a:spLocks noChangeArrowheads="1"/>
          </p:cNvSpPr>
          <p:nvPr/>
        </p:nvSpPr>
        <p:spPr bwMode="auto">
          <a:xfrm>
            <a:off x="4395093" y="557986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44" name="Oval 29"/>
          <p:cNvSpPr>
            <a:spLocks noChangeArrowheads="1"/>
          </p:cNvSpPr>
          <p:nvPr/>
        </p:nvSpPr>
        <p:spPr bwMode="auto">
          <a:xfrm>
            <a:off x="4376043" y="569797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45" name="Oval 29"/>
          <p:cNvSpPr>
            <a:spLocks noChangeArrowheads="1"/>
          </p:cNvSpPr>
          <p:nvPr/>
        </p:nvSpPr>
        <p:spPr bwMode="auto">
          <a:xfrm>
            <a:off x="3705483" y="567130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46" name="Oval 29"/>
          <p:cNvSpPr>
            <a:spLocks noChangeArrowheads="1"/>
          </p:cNvSpPr>
          <p:nvPr/>
        </p:nvSpPr>
        <p:spPr bwMode="auto">
          <a:xfrm>
            <a:off x="4139823" y="570178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47" name="Oval 29"/>
          <p:cNvSpPr>
            <a:spLocks noChangeArrowheads="1"/>
          </p:cNvSpPr>
          <p:nvPr/>
        </p:nvSpPr>
        <p:spPr bwMode="auto">
          <a:xfrm>
            <a:off x="4783713" y="591895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48" name="Oval 29"/>
          <p:cNvSpPr>
            <a:spLocks noChangeArrowheads="1"/>
          </p:cNvSpPr>
          <p:nvPr/>
        </p:nvSpPr>
        <p:spPr bwMode="auto">
          <a:xfrm>
            <a:off x="4821813" y="578941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49" name="Oval 29"/>
          <p:cNvSpPr>
            <a:spLocks noChangeArrowheads="1"/>
          </p:cNvSpPr>
          <p:nvPr/>
        </p:nvSpPr>
        <p:spPr bwMode="auto">
          <a:xfrm>
            <a:off x="4852293" y="585799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50" name="Oval 35"/>
          <p:cNvSpPr>
            <a:spLocks noChangeArrowheads="1"/>
          </p:cNvSpPr>
          <p:nvPr/>
        </p:nvSpPr>
        <p:spPr bwMode="auto">
          <a:xfrm>
            <a:off x="2855276" y="4728733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51" name="Oval 35"/>
          <p:cNvSpPr>
            <a:spLocks noChangeArrowheads="1"/>
          </p:cNvSpPr>
          <p:nvPr/>
        </p:nvSpPr>
        <p:spPr bwMode="auto">
          <a:xfrm>
            <a:off x="2905048" y="4815695"/>
            <a:ext cx="61390" cy="65863"/>
          </a:xfrm>
          <a:prstGeom prst="ellipse">
            <a:avLst/>
          </a:prstGeom>
          <a:solidFill>
            <a:srgbClr val="FF9933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52" name="Oval 35"/>
          <p:cNvSpPr>
            <a:spLocks noChangeArrowheads="1"/>
          </p:cNvSpPr>
          <p:nvPr/>
        </p:nvSpPr>
        <p:spPr bwMode="auto">
          <a:xfrm>
            <a:off x="3464876" y="5046182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53" name="Oval 35"/>
          <p:cNvSpPr>
            <a:spLocks noChangeArrowheads="1"/>
          </p:cNvSpPr>
          <p:nvPr/>
        </p:nvSpPr>
        <p:spPr bwMode="auto">
          <a:xfrm>
            <a:off x="3774553" y="4653600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54" name="Oval 35"/>
          <p:cNvSpPr>
            <a:spLocks noChangeArrowheads="1"/>
          </p:cNvSpPr>
          <p:nvPr/>
        </p:nvSpPr>
        <p:spPr bwMode="auto">
          <a:xfrm>
            <a:off x="3594111" y="468895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55" name="Oval 35"/>
          <p:cNvSpPr>
            <a:spLocks noChangeArrowheads="1"/>
          </p:cNvSpPr>
          <p:nvPr/>
        </p:nvSpPr>
        <p:spPr bwMode="auto">
          <a:xfrm>
            <a:off x="3658729" y="4676765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56" name="Oval 35"/>
          <p:cNvSpPr>
            <a:spLocks noChangeArrowheads="1"/>
          </p:cNvSpPr>
          <p:nvPr/>
        </p:nvSpPr>
        <p:spPr bwMode="auto">
          <a:xfrm>
            <a:off x="3690428" y="4302470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58" name="Oval 35"/>
          <p:cNvSpPr>
            <a:spLocks noChangeArrowheads="1"/>
          </p:cNvSpPr>
          <p:nvPr/>
        </p:nvSpPr>
        <p:spPr bwMode="auto">
          <a:xfrm>
            <a:off x="3614838" y="4625558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59" name="Oval 35"/>
          <p:cNvSpPr>
            <a:spLocks noChangeArrowheads="1"/>
          </p:cNvSpPr>
          <p:nvPr/>
        </p:nvSpPr>
        <p:spPr bwMode="auto">
          <a:xfrm>
            <a:off x="3470972" y="4701149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0" name="Oval 35"/>
          <p:cNvSpPr>
            <a:spLocks noChangeArrowheads="1"/>
          </p:cNvSpPr>
          <p:nvPr/>
        </p:nvSpPr>
        <p:spPr bwMode="auto">
          <a:xfrm>
            <a:off x="3495356" y="488646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1" name="Oval 35"/>
          <p:cNvSpPr>
            <a:spLocks noChangeArrowheads="1"/>
          </p:cNvSpPr>
          <p:nvPr/>
        </p:nvSpPr>
        <p:spPr bwMode="auto">
          <a:xfrm>
            <a:off x="3391724" y="5005949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2" name="Oval 35"/>
          <p:cNvSpPr>
            <a:spLocks noChangeArrowheads="1"/>
          </p:cNvSpPr>
          <p:nvPr/>
        </p:nvSpPr>
        <p:spPr bwMode="auto">
          <a:xfrm>
            <a:off x="3412450" y="4737725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3" name="Oval 35"/>
          <p:cNvSpPr>
            <a:spLocks noChangeArrowheads="1"/>
          </p:cNvSpPr>
          <p:nvPr/>
        </p:nvSpPr>
        <p:spPr bwMode="auto">
          <a:xfrm>
            <a:off x="3440492" y="485720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4" name="Oval 35"/>
          <p:cNvSpPr>
            <a:spLocks noChangeArrowheads="1"/>
          </p:cNvSpPr>
          <p:nvPr/>
        </p:nvSpPr>
        <p:spPr bwMode="auto">
          <a:xfrm>
            <a:off x="3377093" y="4812096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5" name="Oval 35"/>
          <p:cNvSpPr>
            <a:spLocks noChangeArrowheads="1"/>
          </p:cNvSpPr>
          <p:nvPr/>
        </p:nvSpPr>
        <p:spPr bwMode="auto">
          <a:xfrm>
            <a:off x="3514863" y="516200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6" name="Oval 35"/>
          <p:cNvSpPr>
            <a:spLocks noChangeArrowheads="1"/>
          </p:cNvSpPr>
          <p:nvPr/>
        </p:nvSpPr>
        <p:spPr bwMode="auto">
          <a:xfrm>
            <a:off x="4232971" y="5203460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7" name="Oval 35"/>
          <p:cNvSpPr>
            <a:spLocks noChangeArrowheads="1"/>
          </p:cNvSpPr>
          <p:nvPr/>
        </p:nvSpPr>
        <p:spPr bwMode="auto">
          <a:xfrm>
            <a:off x="3778211" y="4821850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8" name="Oval 35"/>
          <p:cNvSpPr>
            <a:spLocks noChangeArrowheads="1"/>
          </p:cNvSpPr>
          <p:nvPr/>
        </p:nvSpPr>
        <p:spPr bwMode="auto">
          <a:xfrm>
            <a:off x="4130559" y="4391471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69" name="Oval 35"/>
          <p:cNvSpPr>
            <a:spLocks noChangeArrowheads="1"/>
          </p:cNvSpPr>
          <p:nvPr/>
        </p:nvSpPr>
        <p:spPr bwMode="auto">
          <a:xfrm>
            <a:off x="3885500" y="4358553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278" name="Oval 35"/>
          <p:cNvSpPr>
            <a:spLocks noChangeArrowheads="1"/>
          </p:cNvSpPr>
          <p:nvPr/>
        </p:nvSpPr>
        <p:spPr bwMode="auto">
          <a:xfrm>
            <a:off x="4287135" y="5781797"/>
            <a:ext cx="61390" cy="65863"/>
          </a:xfrm>
          <a:prstGeom prst="ellipse">
            <a:avLst/>
          </a:prstGeom>
          <a:solidFill>
            <a:srgbClr val="FF9933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18" name="Oval 29"/>
          <p:cNvSpPr>
            <a:spLocks noChangeArrowheads="1"/>
          </p:cNvSpPr>
          <p:nvPr/>
        </p:nvSpPr>
        <p:spPr bwMode="auto">
          <a:xfrm>
            <a:off x="4567469" y="5251446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19" name="Oval 29"/>
          <p:cNvSpPr>
            <a:spLocks noChangeArrowheads="1"/>
          </p:cNvSpPr>
          <p:nvPr/>
        </p:nvSpPr>
        <p:spPr bwMode="auto">
          <a:xfrm>
            <a:off x="4719869" y="5364341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20" name="Oval 29"/>
          <p:cNvSpPr>
            <a:spLocks noChangeArrowheads="1"/>
          </p:cNvSpPr>
          <p:nvPr/>
        </p:nvSpPr>
        <p:spPr bwMode="auto">
          <a:xfrm>
            <a:off x="4665280" y="5462766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21" name="Oval 29"/>
          <p:cNvSpPr>
            <a:spLocks noChangeArrowheads="1"/>
          </p:cNvSpPr>
          <p:nvPr/>
        </p:nvSpPr>
        <p:spPr bwMode="auto">
          <a:xfrm>
            <a:off x="4898901" y="538942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29" name="Oval 35"/>
          <p:cNvSpPr>
            <a:spLocks noChangeArrowheads="1"/>
          </p:cNvSpPr>
          <p:nvPr/>
        </p:nvSpPr>
        <p:spPr bwMode="auto">
          <a:xfrm>
            <a:off x="4929018" y="5393343"/>
            <a:ext cx="61390" cy="65863"/>
          </a:xfrm>
          <a:prstGeom prst="ellipse">
            <a:avLst/>
          </a:prstGeom>
          <a:solidFill>
            <a:srgbClr val="FF9933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31" name="Oval 29"/>
          <p:cNvSpPr>
            <a:spLocks noChangeArrowheads="1"/>
          </p:cNvSpPr>
          <p:nvPr/>
        </p:nvSpPr>
        <p:spPr bwMode="auto">
          <a:xfrm>
            <a:off x="5129972" y="5331909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32" name="Oval 29"/>
          <p:cNvSpPr>
            <a:spLocks noChangeArrowheads="1"/>
          </p:cNvSpPr>
          <p:nvPr/>
        </p:nvSpPr>
        <p:spPr bwMode="auto">
          <a:xfrm>
            <a:off x="5081444" y="5490803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33" name="Oval 29"/>
          <p:cNvSpPr>
            <a:spLocks noChangeArrowheads="1"/>
          </p:cNvSpPr>
          <p:nvPr/>
        </p:nvSpPr>
        <p:spPr bwMode="auto">
          <a:xfrm>
            <a:off x="5323202" y="5072337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38" name="Oval 29"/>
          <p:cNvSpPr>
            <a:spLocks noChangeArrowheads="1"/>
          </p:cNvSpPr>
          <p:nvPr/>
        </p:nvSpPr>
        <p:spPr bwMode="auto">
          <a:xfrm>
            <a:off x="5093765" y="5299561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39" name="Oval 29"/>
          <p:cNvSpPr>
            <a:spLocks noChangeArrowheads="1"/>
          </p:cNvSpPr>
          <p:nvPr/>
        </p:nvSpPr>
        <p:spPr bwMode="auto">
          <a:xfrm>
            <a:off x="5233844" y="5643203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70" name="Oval 35"/>
          <p:cNvSpPr>
            <a:spLocks noChangeArrowheads="1"/>
          </p:cNvSpPr>
          <p:nvPr/>
        </p:nvSpPr>
        <p:spPr bwMode="auto">
          <a:xfrm>
            <a:off x="3885980" y="5233231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  <p:sp>
        <p:nvSpPr>
          <p:cNvPr id="373" name="Oval 35"/>
          <p:cNvSpPr>
            <a:spLocks noChangeArrowheads="1"/>
          </p:cNvSpPr>
          <p:nvPr/>
        </p:nvSpPr>
        <p:spPr bwMode="auto">
          <a:xfrm>
            <a:off x="4268724" y="4957849"/>
            <a:ext cx="36822" cy="39505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/>
          <a:p>
            <a:endParaRPr lang="en-US" sz="1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153" y="603233"/>
            <a:ext cx="8024813" cy="468313"/>
          </a:xfrm>
        </p:spPr>
        <p:txBody>
          <a:bodyPr>
            <a:noAutofit/>
          </a:bodyPr>
          <a:lstStyle/>
          <a:p>
            <a:r>
              <a:rPr lang="en-US" sz="1800" dirty="0" smtClean="0">
                <a:solidFill>
                  <a:schemeClr val="accent1"/>
                </a:solidFill>
              </a:rPr>
              <a:t>To compete, Australian companies rely on finance to fund growth and win business</a:t>
            </a:r>
            <a:r>
              <a:rPr lang="en-US" sz="1800" dirty="0" smtClean="0"/>
              <a:t/>
            </a:r>
            <a:br>
              <a:rPr lang="en-US" sz="1800" dirty="0" smtClean="0"/>
            </a:br>
            <a:endParaRPr lang="en-GB" sz="18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153" y="1428736"/>
            <a:ext cx="7881937" cy="3598863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 smtClean="0">
                <a:solidFill>
                  <a:schemeClr val="tx2"/>
                </a:solidFill>
              </a:rPr>
              <a:t>Australian businesses depend on securing finance to turn prospects into sales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Font typeface="Verdana" pitchFamily="34" charset="0"/>
              <a:buChar char="-"/>
            </a:pPr>
            <a:r>
              <a:rPr lang="en-US" dirty="0" smtClean="0"/>
              <a:t>Fund growth to expand into export markets (Pre and Post shipment)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Verdana" pitchFamily="34" charset="0"/>
              <a:buChar char="-"/>
            </a:pPr>
            <a:r>
              <a:rPr lang="en-US" dirty="0" smtClean="0"/>
              <a:t>Guarantees to support winning contracts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Verdana" pitchFamily="34" charset="0"/>
              <a:buChar char="-"/>
            </a:pPr>
            <a:r>
              <a:rPr lang="en-US" dirty="0" smtClean="0"/>
              <a:t>Working capital to fulfill current orders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Verdana" pitchFamily="34" charset="0"/>
              <a:buChar char="-"/>
            </a:pPr>
            <a:r>
              <a:rPr lang="en-US" dirty="0" smtClean="0"/>
              <a:t>Fund buyers in other markets (Buyers Credits; Supply Chain Financing)</a:t>
            </a:r>
          </a:p>
          <a:p>
            <a:pPr marL="177800" lvl="1">
              <a:spcBef>
                <a:spcPts val="1200"/>
              </a:spcBef>
              <a:spcAft>
                <a:spcPts val="600"/>
              </a:spcAft>
            </a:pPr>
            <a:r>
              <a:rPr lang="en-US" dirty="0" smtClean="0">
                <a:solidFill>
                  <a:schemeClr val="tx2"/>
                </a:solidFill>
              </a:rPr>
              <a:t>Trade Finance directly supports global economic growth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Verdana" pitchFamily="34" charset="0"/>
              <a:buChar char="-"/>
            </a:pPr>
            <a:r>
              <a:rPr lang="en-US" dirty="0" smtClean="0"/>
              <a:t>Trade Finance is one of the most reliable forms of lending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Verdana" pitchFamily="34" charset="0"/>
              <a:buChar char="-"/>
            </a:pPr>
            <a:r>
              <a:rPr lang="en-US" dirty="0" smtClean="0"/>
              <a:t>Short-term, self-liquidating and supported by underlying goods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Verdana" pitchFamily="34" charset="0"/>
              <a:buChar char="-"/>
            </a:pPr>
            <a:r>
              <a:rPr lang="en-US" dirty="0" smtClean="0"/>
              <a:t>One of the least risky forms of bank lending – default rate very low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Verdana" pitchFamily="34" charset="0"/>
              <a:buChar char="-"/>
            </a:pPr>
            <a:r>
              <a:rPr lang="en-US" dirty="0" smtClean="0"/>
              <a:t>Trade Finance products also provide risk mitigation between buyers &amp; sell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5D2D4F-61CA-4F34-B695-FA7EC992F17B}" type="slidenum">
              <a:rPr lang="en-AU" smtClean="0"/>
              <a:pPr/>
              <a:t>3</a:t>
            </a:fld>
            <a:endParaRPr lang="en-A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675" y="603233"/>
            <a:ext cx="8024813" cy="468313"/>
          </a:xfrm>
        </p:spPr>
        <p:txBody>
          <a:bodyPr>
            <a:noAutofit/>
          </a:bodyPr>
          <a:lstStyle/>
          <a:p>
            <a:pPr lvl="0"/>
            <a:r>
              <a:rPr lang="en-US" sz="1800" dirty="0" smtClean="0">
                <a:solidFill>
                  <a:schemeClr val="accent1"/>
                </a:solidFill>
              </a:rPr>
              <a:t>Trade Finance challenged by financial deleveraging and tighter regulations</a:t>
            </a:r>
            <a:r>
              <a:rPr lang="en-GB" sz="1800" dirty="0">
                <a:solidFill>
                  <a:schemeClr val="accent1"/>
                </a:solidFill>
              </a:rPr>
              <a:t/>
            </a:r>
            <a:br>
              <a:rPr lang="en-GB" sz="1800" dirty="0">
                <a:solidFill>
                  <a:schemeClr val="accent1"/>
                </a:solidFill>
              </a:rPr>
            </a:br>
            <a:endParaRPr lang="en-AU" sz="18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8339" y="2000240"/>
            <a:ext cx="7731149" cy="3390900"/>
          </a:xfrm>
        </p:spPr>
        <p:txBody>
          <a:bodyPr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en-AU" sz="1700" dirty="0" err="1" smtClean="0">
                <a:solidFill>
                  <a:schemeClr val="tx2"/>
                </a:solidFill>
              </a:rPr>
              <a:t>Eurozone</a:t>
            </a:r>
            <a:r>
              <a:rPr lang="en-AU" sz="1700" dirty="0" smtClean="0">
                <a:solidFill>
                  <a:schemeClr val="tx2"/>
                </a:solidFill>
              </a:rPr>
              <a:t> crisis diminishing access to trade finance</a:t>
            </a:r>
          </a:p>
          <a:p>
            <a:pPr lvl="0">
              <a:spcBef>
                <a:spcPts val="600"/>
              </a:spcBef>
              <a:spcAft>
                <a:spcPts val="600"/>
              </a:spcAft>
            </a:pPr>
            <a:endParaRPr lang="en-AU" sz="1700" dirty="0" smtClean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700" dirty="0" smtClean="0">
                <a:solidFill>
                  <a:schemeClr val="tx2"/>
                </a:solidFill>
              </a:rPr>
              <a:t>Compliance associated with US AML &amp; Sanctions Laws </a:t>
            </a:r>
          </a:p>
          <a:p>
            <a:pPr>
              <a:spcBef>
                <a:spcPts val="1200"/>
              </a:spcBef>
            </a:pPr>
            <a:endParaRPr lang="en-US" sz="1700" dirty="0" smtClean="0">
              <a:solidFill>
                <a:schemeClr val="tx2"/>
              </a:solidFill>
            </a:endParaRPr>
          </a:p>
          <a:p>
            <a:pPr>
              <a:spcBef>
                <a:spcPts val="1200"/>
              </a:spcBef>
            </a:pPr>
            <a:r>
              <a:rPr lang="en-AU" sz="1700" dirty="0" smtClean="0">
                <a:solidFill>
                  <a:schemeClr val="tx2"/>
                </a:solidFill>
              </a:rPr>
              <a:t>Basel Committee on Banking Supervision (</a:t>
            </a:r>
            <a:r>
              <a:rPr lang="en-US" sz="1700" dirty="0" smtClean="0">
                <a:solidFill>
                  <a:schemeClr val="tx2"/>
                </a:solidFill>
              </a:rPr>
              <a:t>Basle II &amp; III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85D2D4F-61CA-4F34-B695-FA7EC992F17B}" type="slidenum">
              <a:rPr lang="en-AU" smtClean="0"/>
              <a:pPr/>
              <a:t>4</a:t>
            </a:fld>
            <a:endParaRPr lang="en-A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jOcGSR90SIsHTydmJx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1mazkoQEmMBOa.oJBs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isiowC5kSMdo44wC5M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h5_XbZ_kihokhbPNek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C7lM.kNU.wGJ_XPGb6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HH4xz4F0.k3Z1iLB.g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mj2zrjwUOsHC2LtCfh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cMbZYv7EWIShK1UOYT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lvZwrnGkqtecAqGq9X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Fuxoczgk2tj4YGM92I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upNBqxO0arSYeUXZep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5pvnb3.IkqJ4Ck1bHSn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L4TPP17EuFKhKC3pAy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vtCw4jqUGFyqgQNJXFs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AR587xZUu2lMTFjM.I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l_nFOXTke3hcvJI7.S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yELeADRUSSiMDBwkvr9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I0qkmzBUeN_R_vAQYn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omjXz1PUG3E.5ErupF3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XabiUgYkqrtxLFI3To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s4X1E4P0aY5qAjLHQf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dxlTXtaEOqq4..8360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T3icDhMk.aTOVgZg57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q_8fYYKUOUc1mu3ast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96q6hKaUyeTvS6bp4__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QcJ1Bf0a5jh0zJR7v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70f4xn6k2AIwQCwj4K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cXqBC.lkSwznk96th5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Crqxaj_EiHa4oqeOwa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KDEBimkqx7_6.x7X.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A0QDNGyE.ZN3dipvHm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P7jG6e10eSqLGHTZCg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uMCFQMnk6cdbnWDEts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n3mnIeokWtW5UUReED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8lP_dxUut4VdXK9OX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a4W_rbM0SwpDGy16Ca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1j1liQbU.vPt7S048.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qTNI8e7U.Kd4ngn.wQP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62IGjSEkGFteQ435OID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jIRdZ1wkeyA.wFGaRV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HIwr3lfUGcGTED7RT5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s77XOPbE29yGvu8LlL9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e8tXVgnU68MAvBxXPG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.3xGknE0edOCUgZ2b8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_KTeTRsEyB0.Rhdixp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HT_ik3n0mkhnAl49N53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IH0aDzWUabUMkbDS3p9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xQxDC9nE6Lvsh1oY4Al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VZPg4zS0ieWaie5afs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rPaNk024e48ytA7e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DAqExXhEeypJlLe.YK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Ufahtw10Weg1MrMmEP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f7KVPX60qXdYIGh8Ix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27s9ZCxEqF28wB.Gzs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1BLwK8WUGf5Oae6bvm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v2OGyOMUiBtZjBJMukiQ"/>
</p:tagLst>
</file>

<file path=ppt/theme/theme1.xml><?xml version="1.0" encoding="utf-8"?>
<a:theme xmlns:a="http://schemas.openxmlformats.org/drawingml/2006/main" name="Presentation_NoLogo_ANZ">
  <a:themeElements>
    <a:clrScheme name="Presentation_NoLogo_ANZ 1">
      <a:dk1>
        <a:srgbClr val="000000"/>
      </a:dk1>
      <a:lt1>
        <a:srgbClr val="FFFFFF"/>
      </a:lt1>
      <a:dk2>
        <a:srgbClr val="007DBA"/>
      </a:dk2>
      <a:lt2>
        <a:srgbClr val="747678"/>
      </a:lt2>
      <a:accent1>
        <a:srgbClr val="004165"/>
      </a:accent1>
      <a:accent2>
        <a:srgbClr val="5BC6E8"/>
      </a:accent2>
      <a:accent3>
        <a:srgbClr val="FFFFFF"/>
      </a:accent3>
      <a:accent4>
        <a:srgbClr val="000000"/>
      </a:accent4>
      <a:accent5>
        <a:srgbClr val="AAB0B8"/>
      </a:accent5>
      <a:accent6>
        <a:srgbClr val="52B3D2"/>
      </a:accent6>
      <a:hlink>
        <a:srgbClr val="589199"/>
      </a:hlink>
      <a:folHlink>
        <a:srgbClr val="FDC82F"/>
      </a:folHlink>
    </a:clrScheme>
    <a:fontScheme name="Presentation_NoLogo_ANZ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sentation_NoLogo_ANZ 1">
        <a:dk1>
          <a:srgbClr val="000000"/>
        </a:dk1>
        <a:lt1>
          <a:srgbClr val="FFFFFF"/>
        </a:lt1>
        <a:dk2>
          <a:srgbClr val="007DBA"/>
        </a:dk2>
        <a:lt2>
          <a:srgbClr val="747678"/>
        </a:lt2>
        <a:accent1>
          <a:srgbClr val="004165"/>
        </a:accent1>
        <a:accent2>
          <a:srgbClr val="5BC6E8"/>
        </a:accent2>
        <a:accent3>
          <a:srgbClr val="FFFFFF"/>
        </a:accent3>
        <a:accent4>
          <a:srgbClr val="000000"/>
        </a:accent4>
        <a:accent5>
          <a:srgbClr val="AAB0B8"/>
        </a:accent5>
        <a:accent6>
          <a:srgbClr val="52B3D2"/>
        </a:accent6>
        <a:hlink>
          <a:srgbClr val="589199"/>
        </a:hlink>
        <a:folHlink>
          <a:srgbClr val="FDC82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resentation Master">
  <a:themeElements>
    <a:clrScheme name="1_Presentation Master 1">
      <a:dk1>
        <a:srgbClr val="000000"/>
      </a:dk1>
      <a:lt1>
        <a:srgbClr val="FFFFFF"/>
      </a:lt1>
      <a:dk2>
        <a:srgbClr val="007DBA"/>
      </a:dk2>
      <a:lt2>
        <a:srgbClr val="747678"/>
      </a:lt2>
      <a:accent1>
        <a:srgbClr val="004165"/>
      </a:accent1>
      <a:accent2>
        <a:srgbClr val="5BC6E8"/>
      </a:accent2>
      <a:accent3>
        <a:srgbClr val="FFFFFF"/>
      </a:accent3>
      <a:accent4>
        <a:srgbClr val="000000"/>
      </a:accent4>
      <a:accent5>
        <a:srgbClr val="AAB0B8"/>
      </a:accent5>
      <a:accent6>
        <a:srgbClr val="52B3D2"/>
      </a:accent6>
      <a:hlink>
        <a:srgbClr val="589199"/>
      </a:hlink>
      <a:folHlink>
        <a:srgbClr val="FDC82F"/>
      </a:folHlink>
    </a:clrScheme>
    <a:fontScheme name="1_Presentation Master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Presentation Master 1">
        <a:dk1>
          <a:srgbClr val="000000"/>
        </a:dk1>
        <a:lt1>
          <a:srgbClr val="FFFFFF"/>
        </a:lt1>
        <a:dk2>
          <a:srgbClr val="007DBA"/>
        </a:dk2>
        <a:lt2>
          <a:srgbClr val="747678"/>
        </a:lt2>
        <a:accent1>
          <a:srgbClr val="004165"/>
        </a:accent1>
        <a:accent2>
          <a:srgbClr val="5BC6E8"/>
        </a:accent2>
        <a:accent3>
          <a:srgbClr val="FFFFFF"/>
        </a:accent3>
        <a:accent4>
          <a:srgbClr val="000000"/>
        </a:accent4>
        <a:accent5>
          <a:srgbClr val="AAB0B8"/>
        </a:accent5>
        <a:accent6>
          <a:srgbClr val="52B3D2"/>
        </a:accent6>
        <a:hlink>
          <a:srgbClr val="589199"/>
        </a:hlink>
        <a:folHlink>
          <a:srgbClr val="FDC82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Divider Page">
  <a:themeElements>
    <a:clrScheme name="Divider Page 1">
      <a:dk1>
        <a:srgbClr val="000000"/>
      </a:dk1>
      <a:lt1>
        <a:srgbClr val="FFFFFF"/>
      </a:lt1>
      <a:dk2>
        <a:srgbClr val="007DBA"/>
      </a:dk2>
      <a:lt2>
        <a:srgbClr val="747678"/>
      </a:lt2>
      <a:accent1>
        <a:srgbClr val="004165"/>
      </a:accent1>
      <a:accent2>
        <a:srgbClr val="5BC6E8"/>
      </a:accent2>
      <a:accent3>
        <a:srgbClr val="FFFFFF"/>
      </a:accent3>
      <a:accent4>
        <a:srgbClr val="000000"/>
      </a:accent4>
      <a:accent5>
        <a:srgbClr val="AAB0B8"/>
      </a:accent5>
      <a:accent6>
        <a:srgbClr val="52B3D2"/>
      </a:accent6>
      <a:hlink>
        <a:srgbClr val="589199"/>
      </a:hlink>
      <a:folHlink>
        <a:srgbClr val="FDC82F"/>
      </a:folHlink>
    </a:clrScheme>
    <a:fontScheme name="Divider Page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vider Page 1">
        <a:dk1>
          <a:srgbClr val="000000"/>
        </a:dk1>
        <a:lt1>
          <a:srgbClr val="FFFFFF"/>
        </a:lt1>
        <a:dk2>
          <a:srgbClr val="007DBA"/>
        </a:dk2>
        <a:lt2>
          <a:srgbClr val="747678"/>
        </a:lt2>
        <a:accent1>
          <a:srgbClr val="004165"/>
        </a:accent1>
        <a:accent2>
          <a:srgbClr val="5BC6E8"/>
        </a:accent2>
        <a:accent3>
          <a:srgbClr val="FFFFFF"/>
        </a:accent3>
        <a:accent4>
          <a:srgbClr val="000000"/>
        </a:accent4>
        <a:accent5>
          <a:srgbClr val="AAB0B8"/>
        </a:accent5>
        <a:accent6>
          <a:srgbClr val="52B3D2"/>
        </a:accent6>
        <a:hlink>
          <a:srgbClr val="589199"/>
        </a:hlink>
        <a:folHlink>
          <a:srgbClr val="FDC82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Report_NoLogo_ANZ">
  <a:themeElements>
    <a:clrScheme name="Report_NoLogo_ANZ 1">
      <a:dk1>
        <a:srgbClr val="000000"/>
      </a:dk1>
      <a:lt1>
        <a:srgbClr val="FFFFFF"/>
      </a:lt1>
      <a:dk2>
        <a:srgbClr val="004165"/>
      </a:dk2>
      <a:lt2>
        <a:srgbClr val="747678"/>
      </a:lt2>
      <a:accent1>
        <a:srgbClr val="007DBA"/>
      </a:accent1>
      <a:accent2>
        <a:srgbClr val="5BC6E8"/>
      </a:accent2>
      <a:accent3>
        <a:srgbClr val="FFFFFF"/>
      </a:accent3>
      <a:accent4>
        <a:srgbClr val="000000"/>
      </a:accent4>
      <a:accent5>
        <a:srgbClr val="AABFD9"/>
      </a:accent5>
      <a:accent6>
        <a:srgbClr val="52B3D2"/>
      </a:accent6>
      <a:hlink>
        <a:srgbClr val="589199"/>
      </a:hlink>
      <a:folHlink>
        <a:srgbClr val="FDC82F"/>
      </a:folHlink>
    </a:clrScheme>
    <a:fontScheme name="Report_NoLogo_ANZ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eport_NoLogo_ANZ 1">
        <a:dk1>
          <a:srgbClr val="000000"/>
        </a:dk1>
        <a:lt1>
          <a:srgbClr val="FFFFFF"/>
        </a:lt1>
        <a:dk2>
          <a:srgbClr val="004165"/>
        </a:dk2>
        <a:lt2>
          <a:srgbClr val="747678"/>
        </a:lt2>
        <a:accent1>
          <a:srgbClr val="007DBA"/>
        </a:accent1>
        <a:accent2>
          <a:srgbClr val="5BC6E8"/>
        </a:accent2>
        <a:accent3>
          <a:srgbClr val="FFFFFF"/>
        </a:accent3>
        <a:accent4>
          <a:srgbClr val="000000"/>
        </a:accent4>
        <a:accent5>
          <a:srgbClr val="AABFD9"/>
        </a:accent5>
        <a:accent6>
          <a:srgbClr val="52B3D2"/>
        </a:accent6>
        <a:hlink>
          <a:srgbClr val="589199"/>
        </a:hlink>
        <a:folHlink>
          <a:srgbClr val="FDC82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resentation_Logo_ANZ">
  <a:themeElements>
    <a:clrScheme name="Presentation_NoLogo_ANZ 1">
      <a:dk1>
        <a:srgbClr val="000000"/>
      </a:dk1>
      <a:lt1>
        <a:srgbClr val="FFFFFF"/>
      </a:lt1>
      <a:dk2>
        <a:srgbClr val="007DBA"/>
      </a:dk2>
      <a:lt2>
        <a:srgbClr val="747678"/>
      </a:lt2>
      <a:accent1>
        <a:srgbClr val="004165"/>
      </a:accent1>
      <a:accent2>
        <a:srgbClr val="5BC6E8"/>
      </a:accent2>
      <a:accent3>
        <a:srgbClr val="FFFFFF"/>
      </a:accent3>
      <a:accent4>
        <a:srgbClr val="000000"/>
      </a:accent4>
      <a:accent5>
        <a:srgbClr val="AAB0B8"/>
      </a:accent5>
      <a:accent6>
        <a:srgbClr val="52B3D2"/>
      </a:accent6>
      <a:hlink>
        <a:srgbClr val="589199"/>
      </a:hlink>
      <a:folHlink>
        <a:srgbClr val="FDC82F"/>
      </a:folHlink>
    </a:clrScheme>
    <a:fontScheme name="Presentation_NoLogo_ANZ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sentation_NoLogo_ANZ 1">
        <a:dk1>
          <a:srgbClr val="000000"/>
        </a:dk1>
        <a:lt1>
          <a:srgbClr val="FFFFFF"/>
        </a:lt1>
        <a:dk2>
          <a:srgbClr val="007DBA"/>
        </a:dk2>
        <a:lt2>
          <a:srgbClr val="747678"/>
        </a:lt2>
        <a:accent1>
          <a:srgbClr val="004165"/>
        </a:accent1>
        <a:accent2>
          <a:srgbClr val="5BC6E8"/>
        </a:accent2>
        <a:accent3>
          <a:srgbClr val="FFFFFF"/>
        </a:accent3>
        <a:accent4>
          <a:srgbClr val="000000"/>
        </a:accent4>
        <a:accent5>
          <a:srgbClr val="AAB0B8"/>
        </a:accent5>
        <a:accent6>
          <a:srgbClr val="52B3D2"/>
        </a:accent6>
        <a:hlink>
          <a:srgbClr val="589199"/>
        </a:hlink>
        <a:folHlink>
          <a:srgbClr val="FDC82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Default Design">
  <a:themeElements>
    <a:clrScheme name="2_Default Design 1">
      <a:dk1>
        <a:srgbClr val="394A58"/>
      </a:dk1>
      <a:lt1>
        <a:srgbClr val="FFFFFF"/>
      </a:lt1>
      <a:dk2>
        <a:srgbClr val="FFFFFF"/>
      </a:dk2>
      <a:lt2>
        <a:srgbClr val="747678"/>
      </a:lt2>
      <a:accent1>
        <a:srgbClr val="007DBA"/>
      </a:accent1>
      <a:accent2>
        <a:srgbClr val="004165"/>
      </a:accent2>
      <a:accent3>
        <a:srgbClr val="FFFFFF"/>
      </a:accent3>
      <a:accent4>
        <a:srgbClr val="2F3E4A"/>
      </a:accent4>
      <a:accent5>
        <a:srgbClr val="AABFD9"/>
      </a:accent5>
      <a:accent6>
        <a:srgbClr val="003A5B"/>
      </a:accent6>
      <a:hlink>
        <a:srgbClr val="C6DFEA"/>
      </a:hlink>
      <a:folHlink>
        <a:srgbClr val="AA9C8F"/>
      </a:folHlink>
    </a:clrScheme>
    <a:fontScheme name="2_Default Design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efault Design 1">
        <a:dk1>
          <a:srgbClr val="394A58"/>
        </a:dk1>
        <a:lt1>
          <a:srgbClr val="FFFFFF"/>
        </a:lt1>
        <a:dk2>
          <a:srgbClr val="FFFFFF"/>
        </a:dk2>
        <a:lt2>
          <a:srgbClr val="747678"/>
        </a:lt2>
        <a:accent1>
          <a:srgbClr val="007DBA"/>
        </a:accent1>
        <a:accent2>
          <a:srgbClr val="004165"/>
        </a:accent2>
        <a:accent3>
          <a:srgbClr val="FFFFFF"/>
        </a:accent3>
        <a:accent4>
          <a:srgbClr val="2F3E4A"/>
        </a:accent4>
        <a:accent5>
          <a:srgbClr val="AABFD9"/>
        </a:accent5>
        <a:accent6>
          <a:srgbClr val="003A5B"/>
        </a:accent6>
        <a:hlink>
          <a:srgbClr val="C6DFEA"/>
        </a:hlink>
        <a:folHlink>
          <a:srgbClr val="AA9C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8BCF"/>
    </a:dk2>
    <a:lt2>
      <a:srgbClr val="747678"/>
    </a:lt2>
    <a:accent1>
      <a:srgbClr val="004165"/>
    </a:accent1>
    <a:accent2>
      <a:srgbClr val="5BC6E8"/>
    </a:accent2>
    <a:accent3>
      <a:srgbClr val="FFFFFF"/>
    </a:accent3>
    <a:accent4>
      <a:srgbClr val="000000"/>
    </a:accent4>
    <a:accent5>
      <a:srgbClr val="AAB0B8"/>
    </a:accent5>
    <a:accent6>
      <a:srgbClr val="52B3D2"/>
    </a:accent6>
    <a:hlink>
      <a:srgbClr val="589199"/>
    </a:hlink>
    <a:folHlink>
      <a:srgbClr val="FDC82F"/>
    </a:folHlink>
  </a:clr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7DBA"/>
    </a:dk2>
    <a:lt2>
      <a:srgbClr val="747678"/>
    </a:lt2>
    <a:accent1>
      <a:srgbClr val="004165"/>
    </a:accent1>
    <a:accent2>
      <a:srgbClr val="5BC6E8"/>
    </a:accent2>
    <a:accent3>
      <a:srgbClr val="FFFFFF"/>
    </a:accent3>
    <a:accent4>
      <a:srgbClr val="000000"/>
    </a:accent4>
    <a:accent5>
      <a:srgbClr val="AAB0B8"/>
    </a:accent5>
    <a:accent6>
      <a:srgbClr val="52B3D2"/>
    </a:accent6>
    <a:hlink>
      <a:srgbClr val="589199"/>
    </a:hlink>
    <a:folHlink>
      <a:srgbClr val="FDC82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08</TotalTime>
  <Words>283</Words>
  <Application>Microsoft Office PowerPoint</Application>
  <PresentationFormat>On-screen Show (4:3)</PresentationFormat>
  <Paragraphs>47</Paragraphs>
  <Slides>4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Presentation_NoLogo_ANZ</vt:lpstr>
      <vt:lpstr>1_Presentation Master</vt:lpstr>
      <vt:lpstr>Divider Page</vt:lpstr>
      <vt:lpstr>Report_NoLogo_ANZ</vt:lpstr>
      <vt:lpstr>Presentation_Logo_ANZ</vt:lpstr>
      <vt:lpstr>2_Default Design</vt:lpstr>
      <vt:lpstr> Australia’s Competitiveness in Export Finance    Building competitiveness in our export and maritime industries        MARK EVANS GLOBAL HEAD  TRADE &amp; SUPPLY CHAIN AUGUST 24TH 2012   </vt:lpstr>
      <vt:lpstr>ANZ Trade &amp; Supply Chain is a leading commodity and trade finance bank with a strong presence in the Asia-Pacific </vt:lpstr>
      <vt:lpstr>To compete, Australian companies rely on finance to fund growth and win business </vt:lpstr>
      <vt:lpstr>Trade Finance challenged by financial deleveraging and tighter regulations </vt:lpstr>
    </vt:vector>
  </TitlesOfParts>
  <Company>ANZ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ing Goes Here</dc:title>
  <dc:creator>Laura Morgan</dc:creator>
  <cp:lastModifiedBy>Sharyn</cp:lastModifiedBy>
  <cp:revision>440</cp:revision>
  <dcterms:created xsi:type="dcterms:W3CDTF">2009-10-21T06:51:33Z</dcterms:created>
  <dcterms:modified xsi:type="dcterms:W3CDTF">2012-08-23T09:51:40Z</dcterms:modified>
  <cp:category>Presentation Master</cp:category>
</cp:coreProperties>
</file>